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ppt/theme/themeOverride1.xml" ContentType="application/vnd.openxmlformats-officedocument.themeOverr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heme/themeOverride2.xml" ContentType="application/vnd.openxmlformats-officedocument.themeOverride+xml"/>
  <Override PartName="/ppt/notesSlides/notesSlide15.xml" ContentType="application/vnd.openxmlformats-officedocument.presentationml.notesSlide+xml"/>
  <Override PartName="/ppt/theme/themeOverride3.xml" ContentType="application/vnd.openxmlformats-officedocument.themeOverride+xml"/>
  <Override PartName="/ppt/notesSlides/notesSlide16.xml" ContentType="application/vnd.openxmlformats-officedocument.presentationml.notesSlide+xml"/>
  <Override PartName="/ppt/theme/themeOverride4.xml" ContentType="application/vnd.openxmlformats-officedocument.themeOverride+xml"/>
  <Override PartName="/ppt/notesSlides/notesSlide17.xml" ContentType="application/vnd.openxmlformats-officedocument.presentationml.notesSlide+xml"/>
  <Override PartName="/ppt/theme/themeOverride5.xml" ContentType="application/vnd.openxmlformats-officedocument.themeOverride+xml"/>
  <Override PartName="/ppt/notesSlides/notesSlide18.xml" ContentType="application/vnd.openxmlformats-officedocument.presentationml.notesSlide+xml"/>
  <Override PartName="/ppt/theme/themeOverride6.xml" ContentType="application/vnd.openxmlformats-officedocument.themeOverride+xml"/>
  <Override PartName="/ppt/notesSlides/notesSlide19.xml" ContentType="application/vnd.openxmlformats-officedocument.presentationml.notesSlide+xml"/>
  <Override PartName="/ppt/theme/themeOverride7.xml" ContentType="application/vnd.openxmlformats-officedocument.themeOverride+xml"/>
  <Override PartName="/ppt/notesSlides/notesSlide20.xml" ContentType="application/vnd.openxmlformats-officedocument.presentationml.notesSlide+xml"/>
  <Override PartName="/ppt/theme/themeOverride8.xml" ContentType="application/vnd.openxmlformats-officedocument.themeOverride+xml"/>
  <Override PartName="/ppt/notesSlides/notesSlide21.xml" ContentType="application/vnd.openxmlformats-officedocument.presentationml.notesSlide+xml"/>
  <Override PartName="/ppt/theme/themeOverride9.xml" ContentType="application/vnd.openxmlformats-officedocument.themeOverride+xml"/>
  <Override PartName="/ppt/notesSlides/notesSlide22.xml" ContentType="application/vnd.openxmlformats-officedocument.presentationml.notesSlide+xml"/>
  <Override PartName="/ppt/theme/themeOverride10.xml" ContentType="application/vnd.openxmlformats-officedocument.themeOverride+xml"/>
  <Override PartName="/ppt/notesSlides/notesSlide23.xml" ContentType="application/vnd.openxmlformats-officedocument.presentationml.notesSlide+xml"/>
  <Override PartName="/ppt/theme/themeOverride11.xml" ContentType="application/vnd.openxmlformats-officedocument.themeOverride+xml"/>
  <Override PartName="/ppt/notesSlides/notesSlide24.xml" ContentType="application/vnd.openxmlformats-officedocument.presentationml.notesSlide+xml"/>
  <Override PartName="/ppt/theme/themeOverride12.xml" ContentType="application/vnd.openxmlformats-officedocument.themeOverride+xml"/>
  <Override PartName="/ppt/notesSlides/notesSlide25.xml" ContentType="application/vnd.openxmlformats-officedocument.presentationml.notesSlide+xml"/>
  <Override PartName="/ppt/theme/themeOverride13.xml" ContentType="application/vnd.openxmlformats-officedocument.themeOverride+xml"/>
  <Override PartName="/ppt/notesSlides/notesSlide26.xml" ContentType="application/vnd.openxmlformats-officedocument.presentationml.notesSlide+xml"/>
  <Override PartName="/ppt/theme/themeOverride14.xml" ContentType="application/vnd.openxmlformats-officedocument.themeOverride+xml"/>
  <Override PartName="/ppt/notesSlides/notesSlide27.xml" ContentType="application/vnd.openxmlformats-officedocument.presentationml.notesSlide+xml"/>
  <Override PartName="/ppt/theme/themeOverride15.xml" ContentType="application/vnd.openxmlformats-officedocument.themeOverride+xml"/>
  <Override PartName="/ppt/notesSlides/notesSlide28.xml" ContentType="application/vnd.openxmlformats-officedocument.presentationml.notesSlide+xml"/>
  <Override PartName="/ppt/theme/themeOverride16.xml" ContentType="application/vnd.openxmlformats-officedocument.themeOverride+xml"/>
  <Override PartName="/ppt/notesSlides/notesSlide29.xml" ContentType="application/vnd.openxmlformats-officedocument.presentationml.notesSlide+xml"/>
  <Override PartName="/ppt/theme/themeOverride17.xml" ContentType="application/vnd.openxmlformats-officedocument.themeOverr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8731" r:id="rId4"/>
  </p:sldMasterIdLst>
  <p:notesMasterIdLst>
    <p:notesMasterId r:id="rId76"/>
  </p:notesMasterIdLst>
  <p:handoutMasterIdLst>
    <p:handoutMasterId r:id="rId77"/>
  </p:handoutMasterIdLst>
  <p:sldIdLst>
    <p:sldId id="257" r:id="rId5"/>
    <p:sldId id="2146847468" r:id="rId6"/>
    <p:sldId id="6031" r:id="rId7"/>
    <p:sldId id="2146847660" r:id="rId8"/>
    <p:sldId id="2146847523" r:id="rId9"/>
    <p:sldId id="2146847593" r:id="rId10"/>
    <p:sldId id="2146847524" r:id="rId11"/>
    <p:sldId id="2146847594" r:id="rId12"/>
    <p:sldId id="2146847525" r:id="rId13"/>
    <p:sldId id="2146847595" r:id="rId14"/>
    <p:sldId id="2146847657" r:id="rId15"/>
    <p:sldId id="2146847473" r:id="rId16"/>
    <p:sldId id="283" r:id="rId17"/>
    <p:sldId id="2146847658" r:id="rId18"/>
    <p:sldId id="2146847596" r:id="rId19"/>
    <p:sldId id="2146847597" r:id="rId20"/>
    <p:sldId id="2146847610" r:id="rId21"/>
    <p:sldId id="2146847601" r:id="rId22"/>
    <p:sldId id="2146847602" r:id="rId23"/>
    <p:sldId id="2146847600" r:id="rId24"/>
    <p:sldId id="2146847599" r:id="rId25"/>
    <p:sldId id="2146847603" r:id="rId26"/>
    <p:sldId id="2146847604" r:id="rId27"/>
    <p:sldId id="2146847605" r:id="rId28"/>
    <p:sldId id="2146847606" r:id="rId29"/>
    <p:sldId id="2146847607" r:id="rId30"/>
    <p:sldId id="2146847608" r:id="rId31"/>
    <p:sldId id="2146847609" r:id="rId32"/>
    <p:sldId id="2146847598" r:id="rId33"/>
    <p:sldId id="2146847656" r:id="rId34"/>
    <p:sldId id="2146847611" r:id="rId35"/>
    <p:sldId id="2146847659" r:id="rId36"/>
    <p:sldId id="2146847612" r:id="rId37"/>
    <p:sldId id="2146847613" r:id="rId38"/>
    <p:sldId id="2146847626" r:id="rId39"/>
    <p:sldId id="2146847617" r:id="rId40"/>
    <p:sldId id="2146847618" r:id="rId41"/>
    <p:sldId id="2146847616" r:id="rId42"/>
    <p:sldId id="2146847615" r:id="rId43"/>
    <p:sldId id="2146847619" r:id="rId44"/>
    <p:sldId id="2146847620" r:id="rId45"/>
    <p:sldId id="2146847621" r:id="rId46"/>
    <p:sldId id="2146847622" r:id="rId47"/>
    <p:sldId id="2146847623" r:id="rId48"/>
    <p:sldId id="2146847624" r:id="rId49"/>
    <p:sldId id="2146847625" r:id="rId50"/>
    <p:sldId id="2146847614" r:id="rId51"/>
    <p:sldId id="2146847558" r:id="rId52"/>
    <p:sldId id="2146847628" r:id="rId53"/>
    <p:sldId id="2146847641" r:id="rId54"/>
    <p:sldId id="2146847631" r:id="rId55"/>
    <p:sldId id="2146847635" r:id="rId56"/>
    <p:sldId id="2146847634" r:id="rId57"/>
    <p:sldId id="2146847636" r:id="rId58"/>
    <p:sldId id="2146847637" r:id="rId59"/>
    <p:sldId id="2146847638" r:id="rId60"/>
    <p:sldId id="2146847639" r:id="rId61"/>
    <p:sldId id="2146847640" r:id="rId62"/>
    <p:sldId id="2146847629" r:id="rId63"/>
    <p:sldId id="2146847627" r:id="rId64"/>
    <p:sldId id="2146847642" r:id="rId65"/>
    <p:sldId id="2146847655" r:id="rId66"/>
    <p:sldId id="2146847644" r:id="rId67"/>
    <p:sldId id="2146847648" r:id="rId68"/>
    <p:sldId id="2146847649" r:id="rId69"/>
    <p:sldId id="2146847650" r:id="rId70"/>
    <p:sldId id="2146847651" r:id="rId71"/>
    <p:sldId id="2146847652" r:id="rId72"/>
    <p:sldId id="2146847653" r:id="rId73"/>
    <p:sldId id="2146847654" r:id="rId74"/>
    <p:sldId id="2146847643" r:id="rId75"/>
  </p:sldIdLst>
  <p:sldSz cx="9906000" cy="6858000" type="A4"/>
  <p:notesSz cx="6797675" cy="9928225"/>
  <p:custDataLst>
    <p:tags r:id="rId78"/>
  </p:custDataLst>
  <p:defaultTextStyle>
    <a:defPPr>
      <a:defRPr lang="fr-FR"/>
    </a:defPPr>
    <a:lvl1pPr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5pPr>
    <a:lvl6pPr marL="2286000" algn="l" defTabSz="457200" rtl="0" eaLnBrk="1" latinLnBrk="0" hangingPunct="1">
      <a:defRPr kern="1200">
        <a:solidFill>
          <a:schemeClr val="tx1"/>
        </a:solidFill>
        <a:latin typeface="Arial Unicode MS" charset="0"/>
        <a:ea typeface="ＭＳ Ｐゴシック" charset="0"/>
        <a:cs typeface="ＭＳ Ｐゴシック" charset="0"/>
      </a:defRPr>
    </a:lvl6pPr>
    <a:lvl7pPr marL="2743200" algn="l" defTabSz="457200" rtl="0" eaLnBrk="1" latinLnBrk="0" hangingPunct="1">
      <a:defRPr kern="1200">
        <a:solidFill>
          <a:schemeClr val="tx1"/>
        </a:solidFill>
        <a:latin typeface="Arial Unicode MS" charset="0"/>
        <a:ea typeface="ＭＳ Ｐゴシック" charset="0"/>
        <a:cs typeface="ＭＳ Ｐゴシック" charset="0"/>
      </a:defRPr>
    </a:lvl7pPr>
    <a:lvl8pPr marL="3200400" algn="l" defTabSz="457200" rtl="0" eaLnBrk="1" latinLnBrk="0" hangingPunct="1">
      <a:defRPr kern="1200">
        <a:solidFill>
          <a:schemeClr val="tx1"/>
        </a:solidFill>
        <a:latin typeface="Arial Unicode MS" charset="0"/>
        <a:ea typeface="ＭＳ Ｐゴシック" charset="0"/>
        <a:cs typeface="ＭＳ Ｐゴシック" charset="0"/>
      </a:defRPr>
    </a:lvl8pPr>
    <a:lvl9pPr marL="3657600" algn="l" defTabSz="457200" rtl="0" eaLnBrk="1" latinLnBrk="0" hangingPunct="1">
      <a:defRPr kern="1200">
        <a:solidFill>
          <a:schemeClr val="tx1"/>
        </a:solidFill>
        <a:latin typeface="Arial Unicode MS" charset="0"/>
        <a:ea typeface="ＭＳ Ｐゴシック" charset="0"/>
        <a:cs typeface="ＭＳ Ｐゴシック" charset="0"/>
      </a:defRPr>
    </a:lvl9pPr>
  </p:defaultTextStyle>
  <p:extLst>
    <p:ext uri="{521415D9-36F7-43E2-AB2F-B90AF26B5E84}">
      <p14:sectionLst xmlns:p14="http://schemas.microsoft.com/office/powerpoint/2010/main">
        <p14:section name="Default Section" id="{77A7F0A0-1446-4814-AFAD-E6B087BB7EF1}">
          <p14:sldIdLst>
            <p14:sldId id="257"/>
            <p14:sldId id="2146847468"/>
            <p14:sldId id="6031"/>
            <p14:sldId id="2146847660"/>
          </p14:sldIdLst>
        </p14:section>
        <p14:section name="KPI 2, 2A" id="{D14838C3-9F39-4284-A906-33B9AD3B1D83}">
          <p14:sldIdLst>
            <p14:sldId id="2146847523"/>
            <p14:sldId id="2146847593"/>
          </p14:sldIdLst>
        </p14:section>
        <p14:section name="KPI 3, 3A" id="{4ECCA569-72A7-4983-A757-B5F0BEF517F1}">
          <p14:sldIdLst>
            <p14:sldId id="2146847524"/>
            <p14:sldId id="2146847594"/>
          </p14:sldIdLst>
        </p14:section>
        <p14:section name="KPI 4, 4A" id="{09E70F33-5973-4008-8397-82BD63E08A03}">
          <p14:sldIdLst>
            <p14:sldId id="2146847525"/>
            <p14:sldId id="2146847595"/>
            <p14:sldId id="2146847657"/>
          </p14:sldIdLst>
        </p14:section>
        <p14:section name="KPI 5" id="{0380306A-D81F-4DA6-8FAD-969A0A6E57CF}">
          <p14:sldIdLst>
            <p14:sldId id="2146847473"/>
          </p14:sldIdLst>
        </p14:section>
        <p14:section name="KPI 6A, 6B" id="{3B9E2C19-0BD8-4B3A-8705-5969B9C4F454}">
          <p14:sldIdLst>
            <p14:sldId id="283"/>
            <p14:sldId id="2146847658"/>
          </p14:sldIdLst>
        </p14:section>
        <p14:section name="KPI 6C" id="{48F2DA42-8157-4877-A3CE-E1CE43369A7A}">
          <p14:sldIdLst>
            <p14:sldId id="2146847596"/>
            <p14:sldId id="2146847597"/>
            <p14:sldId id="2146847610"/>
            <p14:sldId id="2146847601"/>
            <p14:sldId id="2146847602"/>
            <p14:sldId id="2146847600"/>
            <p14:sldId id="2146847599"/>
            <p14:sldId id="2146847603"/>
            <p14:sldId id="2146847604"/>
            <p14:sldId id="2146847605"/>
            <p14:sldId id="2146847606"/>
            <p14:sldId id="2146847607"/>
            <p14:sldId id="2146847608"/>
            <p14:sldId id="2146847609"/>
            <p14:sldId id="2146847598"/>
          </p14:sldIdLst>
        </p14:section>
        <p14:section name="KPI 6D" id="{98208766-0237-46E1-8A46-C6A4041DF8E9}">
          <p14:sldIdLst>
            <p14:sldId id="2146847656"/>
          </p14:sldIdLst>
        </p14:section>
        <p14:section name="KPI 7A, 7B" id="{273BECBF-EFBD-4BE7-A691-9E5D6124BF90}">
          <p14:sldIdLst>
            <p14:sldId id="2146847611"/>
            <p14:sldId id="2146847659"/>
          </p14:sldIdLst>
        </p14:section>
        <p14:section name="KPI 7C" id="{FD71550A-1559-4633-917B-E11E1F802202}">
          <p14:sldIdLst>
            <p14:sldId id="2146847612"/>
            <p14:sldId id="2146847613"/>
            <p14:sldId id="2146847626"/>
            <p14:sldId id="2146847617"/>
            <p14:sldId id="2146847618"/>
            <p14:sldId id="2146847616"/>
            <p14:sldId id="2146847615"/>
            <p14:sldId id="2146847619"/>
            <p14:sldId id="2146847620"/>
            <p14:sldId id="2146847621"/>
            <p14:sldId id="2146847622"/>
            <p14:sldId id="2146847623"/>
            <p14:sldId id="2146847624"/>
            <p14:sldId id="2146847625"/>
            <p14:sldId id="2146847614"/>
          </p14:sldIdLst>
        </p14:section>
        <p14:section name="KPI 8A" id="{EE914377-A767-40B1-96BA-B512CCC6BE86}">
          <p14:sldIdLst>
            <p14:sldId id="2146847558"/>
            <p14:sldId id="2146847628"/>
            <p14:sldId id="2146847641"/>
            <p14:sldId id="2146847631"/>
            <p14:sldId id="2146847635"/>
            <p14:sldId id="2146847634"/>
            <p14:sldId id="2146847636"/>
            <p14:sldId id="2146847637"/>
            <p14:sldId id="2146847638"/>
            <p14:sldId id="2146847639"/>
            <p14:sldId id="2146847640"/>
            <p14:sldId id="2146847629"/>
          </p14:sldIdLst>
        </p14:section>
        <p14:section name="KPI 8B" id="{AD66546E-E53B-4FFD-BFC1-FFA69B2C992E}">
          <p14:sldIdLst>
            <p14:sldId id="2146847627"/>
            <p14:sldId id="2146847642"/>
            <p14:sldId id="2146847655"/>
            <p14:sldId id="2146847644"/>
            <p14:sldId id="2146847648"/>
            <p14:sldId id="2146847649"/>
            <p14:sldId id="2146847650"/>
            <p14:sldId id="2146847651"/>
            <p14:sldId id="2146847652"/>
            <p14:sldId id="2146847653"/>
            <p14:sldId id="2146847654"/>
            <p14:sldId id="2146847643"/>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or" initials="A" userId="Author" providerId="AD"/>
  <p188:author id="{D5EF0E4D-C99B-9BFB-7950-AFA1E73CB907}" name="Catarina Ventura" initials="CV" userId="clgCAneAcqVaT36vHjgJNiaXoskptfmWeBylcRmkiJ0=" providerId="None"/>
  <p188:author id="{DED6F06A-C2D2-63F1-4DB6-691ED5EFC177}" name="Frank Boerman" initials="FB" userId="soshTBehle9H2JVklMxTju49JxJv7c9YUnDhOJnycjY="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1" name="Author" initials="A" lastIdx="0" clrIdx="1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2" hiddenSlides="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00FE"/>
    <a:srgbClr val="3366FF"/>
    <a:srgbClr val="FFCC00"/>
    <a:srgbClr val="FF7E79"/>
    <a:srgbClr val="009644"/>
    <a:srgbClr val="388BD0"/>
    <a:srgbClr val="787F04"/>
    <a:srgbClr val="8BB88D"/>
    <a:srgbClr val="B798CF"/>
    <a:srgbClr val="326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FAC8CB2-36CF-4655-9CF6-83F77DEA463D}" v="5" dt="2025-05-23T14:47:38.768"/>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853" autoAdjust="0"/>
    <p:restoredTop sz="93557" autoAdjust="0"/>
  </p:normalViewPr>
  <p:slideViewPr>
    <p:cSldViewPr snapToGrid="0">
      <p:cViewPr varScale="1">
        <p:scale>
          <a:sx n="127" d="100"/>
          <a:sy n="127" d="100"/>
        </p:scale>
        <p:origin x="1744" y="192"/>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p:cViewPr>
        <p:scale>
          <a:sx n="75" d="100"/>
          <a:sy n="75" d="100"/>
        </p:scale>
        <p:origin x="4782" y="1278"/>
      </p:cViewPr>
      <p:guideLst>
        <p:guide orient="horz" pos="3127"/>
        <p:guide pos="2142"/>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microsoft.com/office/2016/11/relationships/changesInfo" Target="changesInfos/changesInfo1.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commentAuthors" Target="commentAuthors.xml"/><Relationship Id="rId5" Type="http://schemas.openxmlformats.org/officeDocument/2006/relationships/slide" Target="slides/slid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presProps" Target="presProps.xml"/><Relationship Id="rId85"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tags" Target="tags/tag1.xml"/><Relationship Id="rId81" Type="http://schemas.openxmlformats.org/officeDocument/2006/relationships/viewProps" Target="viewProps.xml"/><Relationship Id="rId86"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notesMaster" Target="notesMasters/notesMaster1.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61" Type="http://schemas.openxmlformats.org/officeDocument/2006/relationships/slide" Target="slides/slide57.xml"/><Relationship Id="rId8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tarina Ventura" userId="clgCAneAcqVaT36vHjgJNiaXoskptfmWeBylcRmkiJ0=" providerId="None" clId="Web-{51B8D2E8-5214-403F-814B-38178392E531}"/>
    <pc:docChg chg="modSld">
      <pc:chgData name="Catarina Ventura" userId="clgCAneAcqVaT36vHjgJNiaXoskptfmWeBylcRmkiJ0=" providerId="None" clId="Web-{51B8D2E8-5214-403F-814B-38178392E531}" dt="2025-05-16T14:12:16.713" v="1" actId="20577"/>
      <pc:docMkLst>
        <pc:docMk/>
      </pc:docMkLst>
      <pc:sldChg chg="modSp">
        <pc:chgData name="Catarina Ventura" userId="clgCAneAcqVaT36vHjgJNiaXoskptfmWeBylcRmkiJ0=" providerId="None" clId="Web-{51B8D2E8-5214-403F-814B-38178392E531}" dt="2025-05-16T14:12:16.713" v="1" actId="20577"/>
        <pc:sldMkLst>
          <pc:docMk/>
          <pc:sldMk cId="2563162895" sldId="6031"/>
        </pc:sldMkLst>
        <pc:spChg chg="mod">
          <ac:chgData name="Catarina Ventura" userId="clgCAneAcqVaT36vHjgJNiaXoskptfmWeBylcRmkiJ0=" providerId="None" clId="Web-{51B8D2E8-5214-403F-814B-38178392E531}" dt="2025-05-16T14:12:16.713" v="1" actId="20577"/>
          <ac:spMkLst>
            <pc:docMk/>
            <pc:sldMk cId="2563162895" sldId="6031"/>
            <ac:spMk id="11" creationId="{21A98F40-4663-A142-075E-06EDADDCACDD}"/>
          </ac:spMkLst>
        </pc:spChg>
      </pc:sldChg>
    </pc:docChg>
  </pc:docChgLst>
  <pc:docChgLst>
    <pc:chgData name="Catarina Ventura" userId="clgCAneAcqVaT36vHjgJNiaXoskptfmWeBylcRmkiJ0=" providerId="None" clId="Web-{22AF33CE-DB41-4368-940A-1A00A354DFC5}"/>
    <pc:docChg chg="modSld">
      <pc:chgData name="Catarina Ventura" userId="clgCAneAcqVaT36vHjgJNiaXoskptfmWeBylcRmkiJ0=" providerId="None" clId="Web-{22AF33CE-DB41-4368-940A-1A00A354DFC5}" dt="2025-05-16T13:31:13.707" v="70" actId="1076"/>
      <pc:docMkLst>
        <pc:docMk/>
      </pc:docMkLst>
      <pc:sldChg chg="addSp modSp">
        <pc:chgData name="Catarina Ventura" userId="clgCAneAcqVaT36vHjgJNiaXoskptfmWeBylcRmkiJ0=" providerId="None" clId="Web-{22AF33CE-DB41-4368-940A-1A00A354DFC5}" dt="2025-05-16T13:31:13.707" v="70" actId="1076"/>
        <pc:sldMkLst>
          <pc:docMk/>
          <pc:sldMk cId="2563162895" sldId="6031"/>
        </pc:sldMkLst>
        <pc:spChg chg="mod">
          <ac:chgData name="Catarina Ventura" userId="clgCAneAcqVaT36vHjgJNiaXoskptfmWeBylcRmkiJ0=" providerId="None" clId="Web-{22AF33CE-DB41-4368-940A-1A00A354DFC5}" dt="2025-05-16T13:31:13.707" v="70" actId="1076"/>
          <ac:spMkLst>
            <pc:docMk/>
            <pc:sldMk cId="2563162895" sldId="6031"/>
            <ac:spMk id="4" creationId="{47ED7675-6667-D24B-91BC-481190D00DC0}"/>
          </ac:spMkLst>
        </pc:spChg>
        <pc:spChg chg="mod">
          <ac:chgData name="Catarina Ventura" userId="clgCAneAcqVaT36vHjgJNiaXoskptfmWeBylcRmkiJ0=" providerId="None" clId="Web-{22AF33CE-DB41-4368-940A-1A00A354DFC5}" dt="2025-05-16T13:29:02.422" v="40" actId="14100"/>
          <ac:spMkLst>
            <pc:docMk/>
            <pc:sldMk cId="2563162895" sldId="6031"/>
            <ac:spMk id="10" creationId="{DFD3FB64-D55A-FFCE-524C-61DE38D03C7F}"/>
          </ac:spMkLst>
        </pc:spChg>
        <pc:spChg chg="mod">
          <ac:chgData name="Catarina Ventura" userId="clgCAneAcqVaT36vHjgJNiaXoskptfmWeBylcRmkiJ0=" providerId="None" clId="Web-{22AF33CE-DB41-4368-940A-1A00A354DFC5}" dt="2025-05-16T13:29:42.282" v="59" actId="20577"/>
          <ac:spMkLst>
            <pc:docMk/>
            <pc:sldMk cId="2563162895" sldId="6031"/>
            <ac:spMk id="11" creationId="{21A98F40-4663-A142-075E-06EDADDCACDD}"/>
          </ac:spMkLst>
        </pc:spChg>
        <pc:grpChg chg="add mod">
          <ac:chgData name="Catarina Ventura" userId="clgCAneAcqVaT36vHjgJNiaXoskptfmWeBylcRmkiJ0=" providerId="None" clId="Web-{22AF33CE-DB41-4368-940A-1A00A354DFC5}" dt="2025-05-16T13:28:42.765" v="38" actId="1076"/>
          <ac:grpSpMkLst>
            <pc:docMk/>
            <pc:sldMk cId="2563162895" sldId="6031"/>
            <ac:grpSpMk id="8" creationId="{90B7A713-583E-172E-8839-FC53FA8E4980}"/>
          </ac:grpSpMkLst>
        </pc:grpChg>
      </pc:sldChg>
    </pc:docChg>
  </pc:docChgLst>
  <pc:docChgLst>
    <pc:chgData name="Catarina Ventura" userId="clgCAneAcqVaT36vHjgJNiaXoskptfmWeBylcRmkiJ0=" providerId="None" clId="Web-{93D91848-D502-4078-B95E-A17FD88CBB1C}"/>
    <pc:docChg chg="modSld">
      <pc:chgData name="Catarina Ventura" userId="clgCAneAcqVaT36vHjgJNiaXoskptfmWeBylcRmkiJ0=" providerId="None" clId="Web-{93D91848-D502-4078-B95E-A17FD88CBB1C}" dt="2025-04-07T14:50:51.923" v="3" actId="20577"/>
      <pc:docMkLst>
        <pc:docMk/>
      </pc:docMkLst>
      <pc:sldChg chg="modSp">
        <pc:chgData name="Catarina Ventura" userId="clgCAneAcqVaT36vHjgJNiaXoskptfmWeBylcRmkiJ0=" providerId="None" clId="Web-{93D91848-D502-4078-B95E-A17FD88CBB1C}" dt="2025-04-07T14:50:51.923" v="3" actId="20577"/>
        <pc:sldMkLst>
          <pc:docMk/>
          <pc:sldMk cId="193473194" sldId="2146847468"/>
        </pc:sldMkLst>
        <pc:spChg chg="mod">
          <ac:chgData name="Catarina Ventura" userId="clgCAneAcqVaT36vHjgJNiaXoskptfmWeBylcRmkiJ0=" providerId="None" clId="Web-{93D91848-D502-4078-B95E-A17FD88CBB1C}" dt="2025-04-07T14:50:51.923" v="3" actId="20577"/>
          <ac:spMkLst>
            <pc:docMk/>
            <pc:sldMk cId="193473194" sldId="2146847468"/>
            <ac:spMk id="4" creationId="{47ED7675-6667-D24B-91BC-481190D00DC0}"/>
          </ac:spMkLst>
        </pc:spChg>
      </pc:sldChg>
    </pc:docChg>
  </pc:docChgLst>
  <pc:docChgLst>
    <pc:chgData name="Frank Boerman" userId="soshTBehle9H2JVklMxTju49JxJv7c9YUnDhOJnycjY=" providerId="None" clId="Web-{322BCF93-82D3-487C-9BF3-70DA815ECFD9}"/>
    <pc:docChg chg="modSld">
      <pc:chgData name="Frank Boerman" userId="soshTBehle9H2JVklMxTju49JxJv7c9YUnDhOJnycjY=" providerId="None" clId="Web-{322BCF93-82D3-487C-9BF3-70DA815ECFD9}" dt="2025-05-07T12:57:01.489" v="523" actId="20577"/>
      <pc:docMkLst>
        <pc:docMk/>
      </pc:docMkLst>
      <pc:sldChg chg="modSp">
        <pc:chgData name="Frank Boerman" userId="soshTBehle9H2JVklMxTju49JxJv7c9YUnDhOJnycjY=" providerId="None" clId="Web-{322BCF93-82D3-487C-9BF3-70DA815ECFD9}" dt="2025-05-07T12:57:01.489" v="523" actId="20577"/>
        <pc:sldMkLst>
          <pc:docMk/>
          <pc:sldMk cId="2149944796" sldId="2146847592"/>
        </pc:sldMkLst>
        <pc:spChg chg="mod">
          <ac:chgData name="Frank Boerman" userId="soshTBehle9H2JVklMxTju49JxJv7c9YUnDhOJnycjY=" providerId="None" clId="Web-{322BCF93-82D3-487C-9BF3-70DA815ECFD9}" dt="2025-05-07T12:57:01.489" v="523" actId="20577"/>
          <ac:spMkLst>
            <pc:docMk/>
            <pc:sldMk cId="2149944796" sldId="2146847592"/>
            <ac:spMk id="4" creationId="{47ED7675-6667-D24B-91BC-481190D00DC0}"/>
          </ac:spMkLst>
        </pc:spChg>
      </pc:sldChg>
    </pc:docChg>
  </pc:docChgLst>
  <pc:docChgLst>
    <pc:chgData name="Catarina Ventura" userId="clgCAneAcqVaT36vHjgJNiaXoskptfmWeBylcRmkiJ0=" providerId="None" clId="Web-{085C4AAD-ED59-44D0-B480-43C2E2DB832E}"/>
    <pc:docChg chg="mod addSld modSld sldOrd modSection">
      <pc:chgData name="Catarina Ventura" userId="clgCAneAcqVaT36vHjgJNiaXoskptfmWeBylcRmkiJ0=" providerId="None" clId="Web-{085C4AAD-ED59-44D0-B480-43C2E2DB832E}" dt="2025-05-08T12:27:02.274" v="171" actId="20577"/>
      <pc:docMkLst>
        <pc:docMk/>
      </pc:docMkLst>
      <pc:sldChg chg="modSp">
        <pc:chgData name="Catarina Ventura" userId="clgCAneAcqVaT36vHjgJNiaXoskptfmWeBylcRmkiJ0=" providerId="None" clId="Web-{085C4AAD-ED59-44D0-B480-43C2E2DB832E}" dt="2025-05-08T12:27:02.274" v="171" actId="20577"/>
        <pc:sldMkLst>
          <pc:docMk/>
          <pc:sldMk cId="2563162895" sldId="6031"/>
        </pc:sldMkLst>
        <pc:spChg chg="mod">
          <ac:chgData name="Catarina Ventura" userId="clgCAneAcqVaT36vHjgJNiaXoskptfmWeBylcRmkiJ0=" providerId="None" clId="Web-{085C4AAD-ED59-44D0-B480-43C2E2DB832E}" dt="2025-05-08T12:27:02.274" v="171" actId="20577"/>
          <ac:spMkLst>
            <pc:docMk/>
            <pc:sldMk cId="2563162895" sldId="6031"/>
            <ac:spMk id="4" creationId="{47ED7675-6667-D24B-91BC-481190D00DC0}"/>
          </ac:spMkLst>
        </pc:spChg>
      </pc:sldChg>
      <pc:sldChg chg="modSp mod modShow">
        <pc:chgData name="Catarina Ventura" userId="clgCAneAcqVaT36vHjgJNiaXoskptfmWeBylcRmkiJ0=" providerId="None" clId="Web-{085C4AAD-ED59-44D0-B480-43C2E2DB832E}" dt="2025-05-08T11:34:22.186" v="71" actId="20577"/>
        <pc:sldMkLst>
          <pc:docMk/>
          <pc:sldMk cId="2149944796" sldId="2146847592"/>
        </pc:sldMkLst>
        <pc:spChg chg="mod">
          <ac:chgData name="Catarina Ventura" userId="clgCAneAcqVaT36vHjgJNiaXoskptfmWeBylcRmkiJ0=" providerId="None" clId="Web-{085C4AAD-ED59-44D0-B480-43C2E2DB832E}" dt="2025-05-08T11:34:22.186" v="71" actId="20577"/>
          <ac:spMkLst>
            <pc:docMk/>
            <pc:sldMk cId="2149944796" sldId="2146847592"/>
            <ac:spMk id="4" creationId="{47ED7675-6667-D24B-91BC-481190D00DC0}"/>
          </ac:spMkLst>
        </pc:spChg>
      </pc:sldChg>
      <pc:sldChg chg="modSp">
        <pc:chgData name="Catarina Ventura" userId="clgCAneAcqVaT36vHjgJNiaXoskptfmWeBylcRmkiJ0=" providerId="None" clId="Web-{085C4AAD-ED59-44D0-B480-43C2E2DB832E}" dt="2025-05-08T12:25:17.145" v="145" actId="20577"/>
        <pc:sldMkLst>
          <pc:docMk/>
          <pc:sldMk cId="951121840" sldId="2146847611"/>
        </pc:sldMkLst>
        <pc:spChg chg="mod">
          <ac:chgData name="Catarina Ventura" userId="clgCAneAcqVaT36vHjgJNiaXoskptfmWeBylcRmkiJ0=" providerId="None" clId="Web-{085C4AAD-ED59-44D0-B480-43C2E2DB832E}" dt="2025-05-08T12:25:17.145" v="145" actId="20577"/>
          <ac:spMkLst>
            <pc:docMk/>
            <pc:sldMk cId="951121840" sldId="2146847611"/>
            <ac:spMk id="2" creationId="{8B30014B-7761-4CC6-87BD-DEF6DFC3B93E}"/>
          </ac:spMkLst>
        </pc:spChg>
      </pc:sldChg>
      <pc:sldChg chg="modSp">
        <pc:chgData name="Catarina Ventura" userId="clgCAneAcqVaT36vHjgJNiaXoskptfmWeBylcRmkiJ0=" providerId="None" clId="Web-{085C4AAD-ED59-44D0-B480-43C2E2DB832E}" dt="2025-05-08T12:25:10.864" v="144" actId="20577"/>
        <pc:sldMkLst>
          <pc:docMk/>
          <pc:sldMk cId="1797444597" sldId="2146847612"/>
        </pc:sldMkLst>
        <pc:spChg chg="mod">
          <ac:chgData name="Catarina Ventura" userId="clgCAneAcqVaT36vHjgJNiaXoskptfmWeBylcRmkiJ0=" providerId="None" clId="Web-{085C4AAD-ED59-44D0-B480-43C2E2DB832E}" dt="2025-05-08T12:25:10.864" v="144" actId="20577"/>
          <ac:spMkLst>
            <pc:docMk/>
            <pc:sldMk cId="1797444597" sldId="2146847612"/>
            <ac:spMk id="2" creationId="{8B30014B-7761-4CC6-87BD-DEF6DFC3B93E}"/>
          </ac:spMkLst>
        </pc:spChg>
      </pc:sldChg>
      <pc:sldChg chg="modSp">
        <pc:chgData name="Catarina Ventura" userId="clgCAneAcqVaT36vHjgJNiaXoskptfmWeBylcRmkiJ0=" providerId="None" clId="Web-{085C4AAD-ED59-44D0-B480-43C2E2DB832E}" dt="2025-05-08T12:25:35.099" v="151" actId="20577"/>
        <pc:sldMkLst>
          <pc:docMk/>
          <pc:sldMk cId="115360046" sldId="2146847613"/>
        </pc:sldMkLst>
        <pc:spChg chg="mod">
          <ac:chgData name="Catarina Ventura" userId="clgCAneAcqVaT36vHjgJNiaXoskptfmWeBylcRmkiJ0=" providerId="None" clId="Web-{085C4AAD-ED59-44D0-B480-43C2E2DB832E}" dt="2025-05-08T12:25:35.099" v="151" actId="20577"/>
          <ac:spMkLst>
            <pc:docMk/>
            <pc:sldMk cId="115360046" sldId="2146847613"/>
            <ac:spMk id="2" creationId="{8B30014B-7761-4CC6-87BD-DEF6DFC3B93E}"/>
          </ac:spMkLst>
        </pc:spChg>
      </pc:sldChg>
      <pc:sldChg chg="modSp">
        <pc:chgData name="Catarina Ventura" userId="clgCAneAcqVaT36vHjgJNiaXoskptfmWeBylcRmkiJ0=" providerId="None" clId="Web-{085C4AAD-ED59-44D0-B480-43C2E2DB832E}" dt="2025-05-08T12:26:51.430" v="170" actId="20577"/>
        <pc:sldMkLst>
          <pc:docMk/>
          <pc:sldMk cId="3941004733" sldId="2146847614"/>
        </pc:sldMkLst>
        <pc:spChg chg="mod">
          <ac:chgData name="Catarina Ventura" userId="clgCAneAcqVaT36vHjgJNiaXoskptfmWeBylcRmkiJ0=" providerId="None" clId="Web-{085C4AAD-ED59-44D0-B480-43C2E2DB832E}" dt="2025-05-08T12:26:51.430" v="170" actId="20577"/>
          <ac:spMkLst>
            <pc:docMk/>
            <pc:sldMk cId="3941004733" sldId="2146847614"/>
            <ac:spMk id="2" creationId="{8B30014B-7761-4CC6-87BD-DEF6DFC3B93E}"/>
          </ac:spMkLst>
        </pc:spChg>
      </pc:sldChg>
      <pc:sldChg chg="modSp">
        <pc:chgData name="Catarina Ventura" userId="clgCAneAcqVaT36vHjgJNiaXoskptfmWeBylcRmkiJ0=" providerId="None" clId="Web-{085C4AAD-ED59-44D0-B480-43C2E2DB832E}" dt="2025-05-08T12:26:17.585" v="162" actId="20577"/>
        <pc:sldMkLst>
          <pc:docMk/>
          <pc:sldMk cId="1016247861" sldId="2146847615"/>
        </pc:sldMkLst>
        <pc:spChg chg="mod">
          <ac:chgData name="Catarina Ventura" userId="clgCAneAcqVaT36vHjgJNiaXoskptfmWeBylcRmkiJ0=" providerId="None" clId="Web-{085C4AAD-ED59-44D0-B480-43C2E2DB832E}" dt="2025-05-08T12:26:17.585" v="162" actId="20577"/>
          <ac:spMkLst>
            <pc:docMk/>
            <pc:sldMk cId="1016247861" sldId="2146847615"/>
            <ac:spMk id="2" creationId="{8B30014B-7761-4CC6-87BD-DEF6DFC3B93E}"/>
          </ac:spMkLst>
        </pc:spChg>
      </pc:sldChg>
      <pc:sldChg chg="modSp">
        <pc:chgData name="Catarina Ventura" userId="clgCAneAcqVaT36vHjgJNiaXoskptfmWeBylcRmkiJ0=" providerId="None" clId="Web-{085C4AAD-ED59-44D0-B480-43C2E2DB832E}" dt="2025-05-08T12:25:55.709" v="155" actId="20577"/>
        <pc:sldMkLst>
          <pc:docMk/>
          <pc:sldMk cId="3535063349" sldId="2146847616"/>
        </pc:sldMkLst>
        <pc:spChg chg="mod">
          <ac:chgData name="Catarina Ventura" userId="clgCAneAcqVaT36vHjgJNiaXoskptfmWeBylcRmkiJ0=" providerId="None" clId="Web-{085C4AAD-ED59-44D0-B480-43C2E2DB832E}" dt="2025-05-08T12:25:55.709" v="155" actId="20577"/>
          <ac:spMkLst>
            <pc:docMk/>
            <pc:sldMk cId="3535063349" sldId="2146847616"/>
            <ac:spMk id="2" creationId="{8B30014B-7761-4CC6-87BD-DEF6DFC3B93E}"/>
          </ac:spMkLst>
        </pc:spChg>
      </pc:sldChg>
      <pc:sldChg chg="modSp">
        <pc:chgData name="Catarina Ventura" userId="clgCAneAcqVaT36vHjgJNiaXoskptfmWeBylcRmkiJ0=" providerId="None" clId="Web-{085C4AAD-ED59-44D0-B480-43C2E2DB832E}" dt="2025-05-08T12:25:45.177" v="153" actId="20577"/>
        <pc:sldMkLst>
          <pc:docMk/>
          <pc:sldMk cId="955542900" sldId="2146847617"/>
        </pc:sldMkLst>
        <pc:spChg chg="mod">
          <ac:chgData name="Catarina Ventura" userId="clgCAneAcqVaT36vHjgJNiaXoskptfmWeBylcRmkiJ0=" providerId="None" clId="Web-{085C4AAD-ED59-44D0-B480-43C2E2DB832E}" dt="2025-05-08T12:25:45.177" v="153" actId="20577"/>
          <ac:spMkLst>
            <pc:docMk/>
            <pc:sldMk cId="955542900" sldId="2146847617"/>
            <ac:spMk id="2" creationId="{8B30014B-7761-4CC6-87BD-DEF6DFC3B93E}"/>
          </ac:spMkLst>
        </pc:spChg>
      </pc:sldChg>
      <pc:sldChg chg="modSp">
        <pc:chgData name="Catarina Ventura" userId="clgCAneAcqVaT36vHjgJNiaXoskptfmWeBylcRmkiJ0=" providerId="None" clId="Web-{085C4AAD-ED59-44D0-B480-43C2E2DB832E}" dt="2025-05-08T12:25:51.506" v="154" actId="20577"/>
        <pc:sldMkLst>
          <pc:docMk/>
          <pc:sldMk cId="2420607129" sldId="2146847618"/>
        </pc:sldMkLst>
        <pc:spChg chg="mod">
          <ac:chgData name="Catarina Ventura" userId="clgCAneAcqVaT36vHjgJNiaXoskptfmWeBylcRmkiJ0=" providerId="None" clId="Web-{085C4AAD-ED59-44D0-B480-43C2E2DB832E}" dt="2025-05-08T12:25:51.506" v="154" actId="20577"/>
          <ac:spMkLst>
            <pc:docMk/>
            <pc:sldMk cId="2420607129" sldId="2146847618"/>
            <ac:spMk id="2" creationId="{8B30014B-7761-4CC6-87BD-DEF6DFC3B93E}"/>
          </ac:spMkLst>
        </pc:spChg>
      </pc:sldChg>
      <pc:sldChg chg="modSp">
        <pc:chgData name="Catarina Ventura" userId="clgCAneAcqVaT36vHjgJNiaXoskptfmWeBylcRmkiJ0=" providerId="None" clId="Web-{085C4AAD-ED59-44D0-B480-43C2E2DB832E}" dt="2025-05-08T12:26:22.335" v="163" actId="20577"/>
        <pc:sldMkLst>
          <pc:docMk/>
          <pc:sldMk cId="1645140669" sldId="2146847619"/>
        </pc:sldMkLst>
        <pc:spChg chg="mod">
          <ac:chgData name="Catarina Ventura" userId="clgCAneAcqVaT36vHjgJNiaXoskptfmWeBylcRmkiJ0=" providerId="None" clId="Web-{085C4AAD-ED59-44D0-B480-43C2E2DB832E}" dt="2025-05-08T12:26:22.335" v="163" actId="20577"/>
          <ac:spMkLst>
            <pc:docMk/>
            <pc:sldMk cId="1645140669" sldId="2146847619"/>
            <ac:spMk id="2" creationId="{8B30014B-7761-4CC6-87BD-DEF6DFC3B93E}"/>
          </ac:spMkLst>
        </pc:spChg>
      </pc:sldChg>
      <pc:sldChg chg="modSp">
        <pc:chgData name="Catarina Ventura" userId="clgCAneAcqVaT36vHjgJNiaXoskptfmWeBylcRmkiJ0=" providerId="None" clId="Web-{085C4AAD-ED59-44D0-B480-43C2E2DB832E}" dt="2025-05-08T12:26:25.897" v="164" actId="20577"/>
        <pc:sldMkLst>
          <pc:docMk/>
          <pc:sldMk cId="2698850252" sldId="2146847620"/>
        </pc:sldMkLst>
        <pc:spChg chg="mod">
          <ac:chgData name="Catarina Ventura" userId="clgCAneAcqVaT36vHjgJNiaXoskptfmWeBylcRmkiJ0=" providerId="None" clId="Web-{085C4AAD-ED59-44D0-B480-43C2E2DB832E}" dt="2025-05-08T12:26:25.897" v="164" actId="20577"/>
          <ac:spMkLst>
            <pc:docMk/>
            <pc:sldMk cId="2698850252" sldId="2146847620"/>
            <ac:spMk id="2" creationId="{8B30014B-7761-4CC6-87BD-DEF6DFC3B93E}"/>
          </ac:spMkLst>
        </pc:spChg>
      </pc:sldChg>
      <pc:sldChg chg="modSp">
        <pc:chgData name="Catarina Ventura" userId="clgCAneAcqVaT36vHjgJNiaXoskptfmWeBylcRmkiJ0=" providerId="None" clId="Web-{085C4AAD-ED59-44D0-B480-43C2E2DB832E}" dt="2025-05-08T12:26:31.398" v="165" actId="20577"/>
        <pc:sldMkLst>
          <pc:docMk/>
          <pc:sldMk cId="641793846" sldId="2146847621"/>
        </pc:sldMkLst>
        <pc:spChg chg="mod">
          <ac:chgData name="Catarina Ventura" userId="clgCAneAcqVaT36vHjgJNiaXoskptfmWeBylcRmkiJ0=" providerId="None" clId="Web-{085C4AAD-ED59-44D0-B480-43C2E2DB832E}" dt="2025-05-08T12:26:31.398" v="165" actId="20577"/>
          <ac:spMkLst>
            <pc:docMk/>
            <pc:sldMk cId="641793846" sldId="2146847621"/>
            <ac:spMk id="2" creationId="{8B30014B-7761-4CC6-87BD-DEF6DFC3B93E}"/>
          </ac:spMkLst>
        </pc:spChg>
      </pc:sldChg>
      <pc:sldChg chg="modSp">
        <pc:chgData name="Catarina Ventura" userId="clgCAneAcqVaT36vHjgJNiaXoskptfmWeBylcRmkiJ0=" providerId="None" clId="Web-{085C4AAD-ED59-44D0-B480-43C2E2DB832E}" dt="2025-05-08T12:26:34.960" v="166" actId="20577"/>
        <pc:sldMkLst>
          <pc:docMk/>
          <pc:sldMk cId="2061237502" sldId="2146847622"/>
        </pc:sldMkLst>
        <pc:spChg chg="mod">
          <ac:chgData name="Catarina Ventura" userId="clgCAneAcqVaT36vHjgJNiaXoskptfmWeBylcRmkiJ0=" providerId="None" clId="Web-{085C4AAD-ED59-44D0-B480-43C2E2DB832E}" dt="2025-05-08T12:26:34.960" v="166" actId="20577"/>
          <ac:spMkLst>
            <pc:docMk/>
            <pc:sldMk cId="2061237502" sldId="2146847622"/>
            <ac:spMk id="2" creationId="{8B30014B-7761-4CC6-87BD-DEF6DFC3B93E}"/>
          </ac:spMkLst>
        </pc:spChg>
      </pc:sldChg>
      <pc:sldChg chg="modSp">
        <pc:chgData name="Catarina Ventura" userId="clgCAneAcqVaT36vHjgJNiaXoskptfmWeBylcRmkiJ0=" providerId="None" clId="Web-{085C4AAD-ED59-44D0-B480-43C2E2DB832E}" dt="2025-05-08T12:26:39.164" v="167" actId="20577"/>
        <pc:sldMkLst>
          <pc:docMk/>
          <pc:sldMk cId="575191809" sldId="2146847623"/>
        </pc:sldMkLst>
        <pc:spChg chg="mod">
          <ac:chgData name="Catarina Ventura" userId="clgCAneAcqVaT36vHjgJNiaXoskptfmWeBylcRmkiJ0=" providerId="None" clId="Web-{085C4AAD-ED59-44D0-B480-43C2E2DB832E}" dt="2025-05-08T12:26:39.164" v="167" actId="20577"/>
          <ac:spMkLst>
            <pc:docMk/>
            <pc:sldMk cId="575191809" sldId="2146847623"/>
            <ac:spMk id="2" creationId="{8B30014B-7761-4CC6-87BD-DEF6DFC3B93E}"/>
          </ac:spMkLst>
        </pc:spChg>
      </pc:sldChg>
      <pc:sldChg chg="modSp">
        <pc:chgData name="Catarina Ventura" userId="clgCAneAcqVaT36vHjgJNiaXoskptfmWeBylcRmkiJ0=" providerId="None" clId="Web-{085C4AAD-ED59-44D0-B480-43C2E2DB832E}" dt="2025-05-08T12:26:43.476" v="168" actId="20577"/>
        <pc:sldMkLst>
          <pc:docMk/>
          <pc:sldMk cId="541663490" sldId="2146847624"/>
        </pc:sldMkLst>
        <pc:spChg chg="mod">
          <ac:chgData name="Catarina Ventura" userId="clgCAneAcqVaT36vHjgJNiaXoskptfmWeBylcRmkiJ0=" providerId="None" clId="Web-{085C4AAD-ED59-44D0-B480-43C2E2DB832E}" dt="2025-05-08T12:26:43.476" v="168" actId="20577"/>
          <ac:spMkLst>
            <pc:docMk/>
            <pc:sldMk cId="541663490" sldId="2146847624"/>
            <ac:spMk id="2" creationId="{8B30014B-7761-4CC6-87BD-DEF6DFC3B93E}"/>
          </ac:spMkLst>
        </pc:spChg>
      </pc:sldChg>
      <pc:sldChg chg="modSp">
        <pc:chgData name="Catarina Ventura" userId="clgCAneAcqVaT36vHjgJNiaXoskptfmWeBylcRmkiJ0=" providerId="None" clId="Web-{085C4AAD-ED59-44D0-B480-43C2E2DB832E}" dt="2025-05-08T12:26:47.711" v="169" actId="20577"/>
        <pc:sldMkLst>
          <pc:docMk/>
          <pc:sldMk cId="1464372545" sldId="2146847625"/>
        </pc:sldMkLst>
        <pc:spChg chg="mod">
          <ac:chgData name="Catarina Ventura" userId="clgCAneAcqVaT36vHjgJNiaXoskptfmWeBylcRmkiJ0=" providerId="None" clId="Web-{085C4AAD-ED59-44D0-B480-43C2E2DB832E}" dt="2025-05-08T12:26:47.711" v="169" actId="20577"/>
          <ac:spMkLst>
            <pc:docMk/>
            <pc:sldMk cId="1464372545" sldId="2146847625"/>
            <ac:spMk id="2" creationId="{8B30014B-7761-4CC6-87BD-DEF6DFC3B93E}"/>
          </ac:spMkLst>
        </pc:spChg>
      </pc:sldChg>
      <pc:sldChg chg="modSp">
        <pc:chgData name="Catarina Ventura" userId="clgCAneAcqVaT36vHjgJNiaXoskptfmWeBylcRmkiJ0=" providerId="None" clId="Web-{085C4AAD-ED59-44D0-B480-43C2E2DB832E}" dt="2025-05-08T12:25:40.521" v="152" actId="20577"/>
        <pc:sldMkLst>
          <pc:docMk/>
          <pc:sldMk cId="3732942601" sldId="2146847626"/>
        </pc:sldMkLst>
        <pc:spChg chg="mod">
          <ac:chgData name="Catarina Ventura" userId="clgCAneAcqVaT36vHjgJNiaXoskptfmWeBylcRmkiJ0=" providerId="None" clId="Web-{085C4AAD-ED59-44D0-B480-43C2E2DB832E}" dt="2025-05-08T12:25:40.521" v="152" actId="20577"/>
          <ac:spMkLst>
            <pc:docMk/>
            <pc:sldMk cId="3732942601" sldId="2146847626"/>
            <ac:spMk id="2" creationId="{8B30014B-7761-4CC6-87BD-DEF6DFC3B93E}"/>
          </ac:spMkLst>
        </pc:spChg>
      </pc:sldChg>
      <pc:sldChg chg="modSp">
        <pc:chgData name="Catarina Ventura" userId="clgCAneAcqVaT36vHjgJNiaXoskptfmWeBylcRmkiJ0=" providerId="None" clId="Web-{085C4AAD-ED59-44D0-B480-43C2E2DB832E}" dt="2025-05-08T12:25:27.552" v="148" actId="20577"/>
        <pc:sldMkLst>
          <pc:docMk/>
          <pc:sldMk cId="961607831" sldId="2146847659"/>
        </pc:sldMkLst>
        <pc:spChg chg="mod">
          <ac:chgData name="Catarina Ventura" userId="clgCAneAcqVaT36vHjgJNiaXoskptfmWeBylcRmkiJ0=" providerId="None" clId="Web-{085C4AAD-ED59-44D0-B480-43C2E2DB832E}" dt="2025-05-08T12:25:27.552" v="148" actId="20577"/>
          <ac:spMkLst>
            <pc:docMk/>
            <pc:sldMk cId="961607831" sldId="2146847659"/>
            <ac:spMk id="2" creationId="{8B30014B-7761-4CC6-87BD-DEF6DFC3B93E}"/>
          </ac:spMkLst>
        </pc:spChg>
      </pc:sldChg>
      <pc:sldChg chg="modSp add ord replId">
        <pc:chgData name="Catarina Ventura" userId="clgCAneAcqVaT36vHjgJNiaXoskptfmWeBylcRmkiJ0=" providerId="None" clId="Web-{085C4AAD-ED59-44D0-B480-43C2E2DB832E}" dt="2025-05-08T11:37:37.943" v="140"/>
        <pc:sldMkLst>
          <pc:docMk/>
          <pc:sldMk cId="242844566" sldId="2146847660"/>
        </pc:sldMkLst>
        <pc:spChg chg="mod">
          <ac:chgData name="Catarina Ventura" userId="clgCAneAcqVaT36vHjgJNiaXoskptfmWeBylcRmkiJ0=" providerId="None" clId="Web-{085C4AAD-ED59-44D0-B480-43C2E2DB832E}" dt="2025-05-08T11:36:55.613" v="138" actId="20577"/>
          <ac:spMkLst>
            <pc:docMk/>
            <pc:sldMk cId="242844566" sldId="2146847660"/>
            <ac:spMk id="4" creationId="{B8EB7BA5-FE65-9A4F-5D25-0F6D85A2675A}"/>
          </ac:spMkLst>
        </pc:spChg>
      </pc:sldChg>
    </pc:docChg>
  </pc:docChgLst>
  <pc:docChgLst>
    <pc:chgData name="Catarina Ventura" userId="clgCAneAcqVaT36vHjgJNiaXoskptfmWeBylcRmkiJ0=" providerId="None" clId="Web-{4ADDD93A-FB75-4191-8938-88822BDF5949}"/>
    <pc:docChg chg="modSld">
      <pc:chgData name="Catarina Ventura" userId="clgCAneAcqVaT36vHjgJNiaXoskptfmWeBylcRmkiJ0=" providerId="None" clId="Web-{4ADDD93A-FB75-4191-8938-88822BDF5949}" dt="2025-05-08T11:26:44.217" v="797" actId="20577"/>
      <pc:docMkLst>
        <pc:docMk/>
      </pc:docMkLst>
      <pc:sldChg chg="modSp">
        <pc:chgData name="Catarina Ventura" userId="clgCAneAcqVaT36vHjgJNiaXoskptfmWeBylcRmkiJ0=" providerId="None" clId="Web-{4ADDD93A-FB75-4191-8938-88822BDF5949}" dt="2025-05-08T11:26:44.217" v="797" actId="20577"/>
        <pc:sldMkLst>
          <pc:docMk/>
          <pc:sldMk cId="2149944796" sldId="2146847592"/>
        </pc:sldMkLst>
        <pc:spChg chg="mod">
          <ac:chgData name="Catarina Ventura" userId="clgCAneAcqVaT36vHjgJNiaXoskptfmWeBylcRmkiJ0=" providerId="None" clId="Web-{4ADDD93A-FB75-4191-8938-88822BDF5949}" dt="2025-05-08T11:26:44.217" v="797" actId="20577"/>
          <ac:spMkLst>
            <pc:docMk/>
            <pc:sldMk cId="2149944796" sldId="2146847592"/>
            <ac:spMk id="4" creationId="{47ED7675-6667-D24B-91BC-481190D00DC0}"/>
          </ac:spMkLst>
        </pc:spChg>
      </pc:sldChg>
    </pc:docChg>
  </pc:docChgLst>
  <pc:docChgLst>
    <pc:chgData name="Frank Boerman" userId="soshTBehle9H2JVklMxTju49JxJv7c9YUnDhOJnycjY=" providerId="None" clId="Web-{8561DEB8-6EAD-4E5C-BA0E-73581D6339F9}"/>
    <pc:docChg chg="modSld">
      <pc:chgData name="Frank Boerman" userId="soshTBehle9H2JVklMxTju49JxJv7c9YUnDhOJnycjY=" providerId="None" clId="Web-{8561DEB8-6EAD-4E5C-BA0E-73581D6339F9}" dt="2025-05-14T12:39:15.382" v="98" actId="20577"/>
      <pc:docMkLst>
        <pc:docMk/>
      </pc:docMkLst>
      <pc:sldChg chg="modSp modCm">
        <pc:chgData name="Frank Boerman" userId="soshTBehle9H2JVklMxTju49JxJv7c9YUnDhOJnycjY=" providerId="None" clId="Web-{8561DEB8-6EAD-4E5C-BA0E-73581D6339F9}" dt="2025-05-14T12:39:15.382" v="98" actId="20577"/>
        <pc:sldMkLst>
          <pc:docMk/>
          <pc:sldMk cId="242844566" sldId="2146847660"/>
        </pc:sldMkLst>
        <pc:spChg chg="mod">
          <ac:chgData name="Frank Boerman" userId="soshTBehle9H2JVklMxTju49JxJv7c9YUnDhOJnycjY=" providerId="None" clId="Web-{8561DEB8-6EAD-4E5C-BA0E-73581D6339F9}" dt="2025-05-14T12:39:15.382" v="98" actId="20577"/>
          <ac:spMkLst>
            <pc:docMk/>
            <pc:sldMk cId="242844566" sldId="2146847660"/>
            <ac:spMk id="4" creationId="{B8EB7BA5-FE65-9A4F-5D25-0F6D85A2675A}"/>
          </ac:spMkLst>
        </pc:spChg>
        <pc:extLst>
          <p:ext xmlns:p="http://schemas.openxmlformats.org/presentationml/2006/main" uri="{D6D511B9-2390-475A-947B-AFAB55BFBCF1}">
            <pc226:cmChg xmlns:pc226="http://schemas.microsoft.com/office/powerpoint/2022/06/main/command" chg="mod">
              <pc226:chgData name="Frank Boerman" userId="soshTBehle9H2JVklMxTju49JxJv7c9YUnDhOJnycjY=" providerId="None" clId="Web-{8561DEB8-6EAD-4E5C-BA0E-73581D6339F9}" dt="2025-05-14T12:39:15.382" v="98" actId="20577"/>
              <pc2:cmMkLst xmlns:pc2="http://schemas.microsoft.com/office/powerpoint/2019/9/main/command">
                <pc:docMk/>
                <pc:sldMk cId="242844566" sldId="2146847660"/>
                <pc2:cmMk id="{247AC99F-FF92-4F81-B1CE-1EFC960B6305}"/>
              </pc2:cmMkLst>
            </pc226:cmChg>
            <pc226:cmChg xmlns:pc226="http://schemas.microsoft.com/office/powerpoint/2022/06/main/command" chg="mod">
              <pc226:chgData name="Frank Boerman" userId="soshTBehle9H2JVklMxTju49JxJv7c9YUnDhOJnycjY=" providerId="None" clId="Web-{8561DEB8-6EAD-4E5C-BA0E-73581D6339F9}" dt="2025-05-14T12:39:15.382" v="98" actId="20577"/>
              <pc2:cmMkLst xmlns:pc2="http://schemas.microsoft.com/office/powerpoint/2019/9/main/command">
                <pc:docMk/>
                <pc:sldMk cId="242844566" sldId="2146847660"/>
                <pc2:cmMk id="{6D6185CA-86F0-40B6-A9A9-0CB3EC44E4F7}"/>
              </pc2:cmMkLst>
            </pc226:cmChg>
          </p:ext>
        </pc:extLst>
      </pc:sldChg>
    </pc:docChg>
  </pc:docChgLst>
  <pc:docChgLst>
    <pc:chgData name="Catarina Ventura" userId="clgCAneAcqVaT36vHjgJNiaXoskptfmWeBylcRmkiJ0=" providerId="None" clId="Web-{FFAC8CB2-36CF-4655-9CF6-83F77DEA463D}"/>
    <pc:docChg chg="modSld">
      <pc:chgData name="Catarina Ventura" userId="clgCAneAcqVaT36vHjgJNiaXoskptfmWeBylcRmkiJ0=" providerId="None" clId="Web-{FFAC8CB2-36CF-4655-9CF6-83F77DEA463D}" dt="2025-05-23T14:47:38.768" v="4"/>
      <pc:docMkLst>
        <pc:docMk/>
      </pc:docMkLst>
      <pc:sldChg chg="delSp modSp">
        <pc:chgData name="Catarina Ventura" userId="clgCAneAcqVaT36vHjgJNiaXoskptfmWeBylcRmkiJ0=" providerId="None" clId="Web-{FFAC8CB2-36CF-4655-9CF6-83F77DEA463D}" dt="2025-05-23T14:47:38.768" v="4"/>
        <pc:sldMkLst>
          <pc:docMk/>
          <pc:sldMk cId="2563162895" sldId="6031"/>
        </pc:sldMkLst>
        <pc:spChg chg="mod">
          <ac:chgData name="Catarina Ventura" userId="clgCAneAcqVaT36vHjgJNiaXoskptfmWeBylcRmkiJ0=" providerId="None" clId="Web-{FFAC8CB2-36CF-4655-9CF6-83F77DEA463D}" dt="2025-05-23T14:47:35.362" v="2" actId="20577"/>
          <ac:spMkLst>
            <pc:docMk/>
            <pc:sldMk cId="2563162895" sldId="6031"/>
            <ac:spMk id="4" creationId="{47ED7675-6667-D24B-91BC-481190D00DC0}"/>
          </ac:spMkLst>
        </pc:spChg>
        <pc:spChg chg="del topLvl">
          <ac:chgData name="Catarina Ventura" userId="clgCAneAcqVaT36vHjgJNiaXoskptfmWeBylcRmkiJ0=" providerId="None" clId="Web-{FFAC8CB2-36CF-4655-9CF6-83F77DEA463D}" dt="2025-05-23T14:47:38.768" v="4"/>
          <ac:spMkLst>
            <pc:docMk/>
            <pc:sldMk cId="2563162895" sldId="6031"/>
            <ac:spMk id="10" creationId="{DFD3FB64-D55A-FFCE-524C-61DE38D03C7F}"/>
          </ac:spMkLst>
        </pc:spChg>
        <pc:spChg chg="del topLvl">
          <ac:chgData name="Catarina Ventura" userId="clgCAneAcqVaT36vHjgJNiaXoskptfmWeBylcRmkiJ0=" providerId="None" clId="Web-{FFAC8CB2-36CF-4655-9CF6-83F77DEA463D}" dt="2025-05-23T14:47:37.471" v="3"/>
          <ac:spMkLst>
            <pc:docMk/>
            <pc:sldMk cId="2563162895" sldId="6031"/>
            <ac:spMk id="11" creationId="{21A98F40-4663-A142-075E-06EDADDCACDD}"/>
          </ac:spMkLst>
        </pc:spChg>
        <pc:grpChg chg="del">
          <ac:chgData name="Catarina Ventura" userId="clgCAneAcqVaT36vHjgJNiaXoskptfmWeBylcRmkiJ0=" providerId="None" clId="Web-{FFAC8CB2-36CF-4655-9CF6-83F77DEA463D}" dt="2025-05-23T14:47:37.471" v="3"/>
          <ac:grpSpMkLst>
            <pc:docMk/>
            <pc:sldMk cId="2563162895" sldId="6031"/>
            <ac:grpSpMk id="8" creationId="{90B7A713-583E-172E-8839-FC53FA8E4980}"/>
          </ac:grpSpMkLst>
        </pc:grpChg>
      </pc:sldChg>
    </pc:docChg>
  </pc:docChgLst>
  <pc:docChgLst>
    <pc:chgData name="Catarina Ventura" userId="clgCAneAcqVaT36vHjgJNiaXoskptfmWeBylcRmkiJ0=" providerId="None" clId="Web-{CB827D2E-5A3E-4666-86E1-1E59F27F5EB9}"/>
    <pc:docChg chg="modSld">
      <pc:chgData name="Catarina Ventura" userId="clgCAneAcqVaT36vHjgJNiaXoskptfmWeBylcRmkiJ0=" providerId="None" clId="Web-{CB827D2E-5A3E-4666-86E1-1E59F27F5EB9}" dt="2025-05-09T15:46:35.512" v="26" actId="20577"/>
      <pc:docMkLst>
        <pc:docMk/>
      </pc:docMkLst>
      <pc:sldChg chg="modSp modCm">
        <pc:chgData name="Catarina Ventura" userId="clgCAneAcqVaT36vHjgJNiaXoskptfmWeBylcRmkiJ0=" providerId="None" clId="Web-{CB827D2E-5A3E-4666-86E1-1E59F27F5EB9}" dt="2025-05-09T15:46:35.512" v="26" actId="20577"/>
        <pc:sldMkLst>
          <pc:docMk/>
          <pc:sldMk cId="242844566" sldId="2146847660"/>
        </pc:sldMkLst>
        <pc:spChg chg="mod">
          <ac:chgData name="Catarina Ventura" userId="clgCAneAcqVaT36vHjgJNiaXoskptfmWeBylcRmkiJ0=" providerId="None" clId="Web-{CB827D2E-5A3E-4666-86E1-1E59F27F5EB9}" dt="2025-05-09T15:46:35.512" v="26" actId="20577"/>
          <ac:spMkLst>
            <pc:docMk/>
            <pc:sldMk cId="242844566" sldId="2146847660"/>
            <ac:spMk id="4" creationId="{B8EB7BA5-FE65-9A4F-5D25-0F6D85A2675A}"/>
          </ac:spMkLst>
        </pc:spChg>
        <pc:extLst>
          <p:ext xmlns:p="http://schemas.openxmlformats.org/presentationml/2006/main" uri="{D6D511B9-2390-475A-947B-AFAB55BFBCF1}">
            <pc226:cmChg xmlns:pc226="http://schemas.microsoft.com/office/powerpoint/2022/06/main/command" chg="mod">
              <pc226:chgData name="Catarina Ventura" userId="clgCAneAcqVaT36vHjgJNiaXoskptfmWeBylcRmkiJ0=" providerId="None" clId="Web-{CB827D2E-5A3E-4666-86E1-1E59F27F5EB9}" dt="2025-05-09T15:45:47.089" v="20" actId="20577"/>
              <pc2:cmMkLst xmlns:pc2="http://schemas.microsoft.com/office/powerpoint/2019/9/main/command">
                <pc:docMk/>
                <pc:sldMk cId="242844566" sldId="2146847660"/>
                <pc2:cmMk id="{247AC99F-FF92-4F81-B1CE-1EFC960B6305}"/>
              </pc2:cmMkLst>
            </pc226:cmChg>
            <pc226:cmChg xmlns:pc226="http://schemas.microsoft.com/office/powerpoint/2022/06/main/command" chg="mod">
              <pc226:chgData name="Catarina Ventura" userId="clgCAneAcqVaT36vHjgJNiaXoskptfmWeBylcRmkiJ0=" providerId="None" clId="Web-{CB827D2E-5A3E-4666-86E1-1E59F27F5EB9}" dt="2025-05-09T15:45:47.089" v="20" actId="20577"/>
              <pc2:cmMkLst xmlns:pc2="http://schemas.microsoft.com/office/powerpoint/2019/9/main/command">
                <pc:docMk/>
                <pc:sldMk cId="242844566" sldId="2146847660"/>
                <pc2:cmMk id="{6D6185CA-86F0-40B6-A9A9-0CB3EC44E4F7}"/>
              </pc2:cmMkLst>
            </pc226:cmChg>
          </p:ext>
        </pc:extLst>
      </pc:sldChg>
    </pc:docChg>
  </pc:docChgLst>
  <pc:docChgLst>
    <pc:chgData name="Ansgar Neumann" userId="BLYtlllAkYBVcmn2vpyM7e0HbsRqfWIDXHYoeQuVR5s=" providerId="None" clId="Web-{9C506AAE-DF29-4DF0-8D98-B676828D7CA3}"/>
    <pc:docChg chg="modSld">
      <pc:chgData name="Ansgar Neumann" userId="BLYtlllAkYBVcmn2vpyM7e0HbsRqfWIDXHYoeQuVR5s=" providerId="None" clId="Web-{9C506AAE-DF29-4DF0-8D98-B676828D7CA3}" dt="2025-05-19T06:32:21.301" v="31" actId="20577"/>
      <pc:docMkLst>
        <pc:docMk/>
      </pc:docMkLst>
      <pc:sldChg chg="modSp">
        <pc:chgData name="Ansgar Neumann" userId="BLYtlllAkYBVcmn2vpyM7e0HbsRqfWIDXHYoeQuVR5s=" providerId="None" clId="Web-{9C506AAE-DF29-4DF0-8D98-B676828D7CA3}" dt="2025-05-19T06:32:21.301" v="31" actId="20577"/>
        <pc:sldMkLst>
          <pc:docMk/>
          <pc:sldMk cId="2563162895" sldId="6031"/>
        </pc:sldMkLst>
        <pc:spChg chg="mod">
          <ac:chgData name="Ansgar Neumann" userId="BLYtlllAkYBVcmn2vpyM7e0HbsRqfWIDXHYoeQuVR5s=" providerId="None" clId="Web-{9C506AAE-DF29-4DF0-8D98-B676828D7CA3}" dt="2025-05-19T06:32:21.301" v="31" actId="20577"/>
          <ac:spMkLst>
            <pc:docMk/>
            <pc:sldMk cId="2563162895" sldId="6031"/>
            <ac:spMk id="4" creationId="{47ED7675-6667-D24B-91BC-481190D00DC0}"/>
          </ac:spMkLst>
        </pc:spChg>
      </pc:sldChg>
      <pc:sldChg chg="modSp">
        <pc:chgData name="Ansgar Neumann" userId="BLYtlllAkYBVcmn2vpyM7e0HbsRqfWIDXHYoeQuVR5s=" providerId="None" clId="Web-{9C506AAE-DF29-4DF0-8D98-B676828D7CA3}" dt="2025-05-19T06:27:20.478" v="28"/>
        <pc:sldMkLst>
          <pc:docMk/>
          <pc:sldMk cId="193473194" sldId="2146847468"/>
        </pc:sldMkLst>
        <pc:spChg chg="mod">
          <ac:chgData name="Ansgar Neumann" userId="BLYtlllAkYBVcmn2vpyM7e0HbsRqfWIDXHYoeQuVR5s=" providerId="None" clId="Web-{9C506AAE-DF29-4DF0-8D98-B676828D7CA3}" dt="2025-05-19T06:25:04.380" v="2" actId="20577"/>
          <ac:spMkLst>
            <pc:docMk/>
            <pc:sldMk cId="193473194" sldId="2146847468"/>
            <ac:spMk id="4" creationId="{47ED7675-6667-D24B-91BC-481190D00DC0}"/>
          </ac:spMkLst>
        </pc:spChg>
        <pc:graphicFrameChg chg="mod modGraphic">
          <ac:chgData name="Ansgar Neumann" userId="BLYtlllAkYBVcmn2vpyM7e0HbsRqfWIDXHYoeQuVR5s=" providerId="None" clId="Web-{9C506AAE-DF29-4DF0-8D98-B676828D7CA3}" dt="2025-05-19T06:27:12.759" v="26"/>
          <ac:graphicFrameMkLst>
            <pc:docMk/>
            <pc:sldMk cId="193473194" sldId="2146847468"/>
            <ac:graphicFrameMk id="2" creationId="{BA28C580-B42A-A396-FD3B-CD2F09533169}"/>
          </ac:graphicFrameMkLst>
        </pc:graphicFrameChg>
        <pc:graphicFrameChg chg="mod modGraphic">
          <ac:chgData name="Ansgar Neumann" userId="BLYtlllAkYBVcmn2vpyM7e0HbsRqfWIDXHYoeQuVR5s=" providerId="None" clId="Web-{9C506AAE-DF29-4DF0-8D98-B676828D7CA3}" dt="2025-05-19T06:27:20.478" v="28"/>
          <ac:graphicFrameMkLst>
            <pc:docMk/>
            <pc:sldMk cId="193473194" sldId="2146847468"/>
            <ac:graphicFrameMk id="8" creationId="{2FBF1E24-FB42-0C60-03B5-ED87B4B45A9B}"/>
          </ac:graphicFrameMkLst>
        </pc:graphicFrameChg>
      </pc:sldChg>
    </pc:docChg>
  </pc:docChgLst>
  <pc:docChgLst>
    <pc:chgData name="Frank Boerman" userId="soshTBehle9H2JVklMxTju49JxJv7c9YUnDhOJnycjY=" providerId="None" clId="Web-{D48CA3F5-C9C7-4E48-AAE0-FD2D35D43200}"/>
    <pc:docChg chg="mod modSld">
      <pc:chgData name="Frank Boerman" userId="soshTBehle9H2JVklMxTju49JxJv7c9YUnDhOJnycjY=" providerId="None" clId="Web-{D48CA3F5-C9C7-4E48-AAE0-FD2D35D43200}" dt="2025-05-08T12:10:56.877" v="1"/>
      <pc:docMkLst>
        <pc:docMk/>
      </pc:docMkLst>
      <pc:sldChg chg="modSp">
        <pc:chgData name="Frank Boerman" userId="soshTBehle9H2JVklMxTju49JxJv7c9YUnDhOJnycjY=" providerId="None" clId="Web-{D48CA3F5-C9C7-4E48-AAE0-FD2D35D43200}" dt="2025-05-08T12:10:47.017" v="0" actId="20577"/>
        <pc:sldMkLst>
          <pc:docMk/>
          <pc:sldMk cId="242844566" sldId="2146847660"/>
        </pc:sldMkLst>
        <pc:spChg chg="mod">
          <ac:chgData name="Frank Boerman" userId="soshTBehle9H2JVklMxTju49JxJv7c9YUnDhOJnycjY=" providerId="None" clId="Web-{D48CA3F5-C9C7-4E48-AAE0-FD2D35D43200}" dt="2025-05-08T12:10:47.017" v="0" actId="20577"/>
          <ac:spMkLst>
            <pc:docMk/>
            <pc:sldMk cId="242844566" sldId="2146847660"/>
            <ac:spMk id="4" creationId="{B8EB7BA5-FE65-9A4F-5D25-0F6D85A2675A}"/>
          </ac:spMkLst>
        </pc:spChg>
      </pc:sldChg>
    </pc:docChg>
  </pc:docChgLst>
  <pc:docChgLst>
    <pc:chgData name="Catarina Ventura" userId="clgCAneAcqVaT36vHjgJNiaXoskptfmWeBylcRmkiJ0=" providerId="None" clId="Web-{CA256F42-EABD-41C1-8088-79A0F9AE5CA0}"/>
    <pc:docChg chg="modSld">
      <pc:chgData name="Catarina Ventura" userId="clgCAneAcqVaT36vHjgJNiaXoskptfmWeBylcRmkiJ0=" providerId="None" clId="Web-{CA256F42-EABD-41C1-8088-79A0F9AE5CA0}" dt="2025-04-11T08:13:10.534" v="10" actId="20577"/>
      <pc:docMkLst>
        <pc:docMk/>
      </pc:docMkLst>
      <pc:sldChg chg="modSp">
        <pc:chgData name="Catarina Ventura" userId="clgCAneAcqVaT36vHjgJNiaXoskptfmWeBylcRmkiJ0=" providerId="None" clId="Web-{CA256F42-EABD-41C1-8088-79A0F9AE5CA0}" dt="2025-04-11T08:07:20.855" v="0" actId="20577"/>
        <pc:sldMkLst>
          <pc:docMk/>
          <pc:sldMk cId="2563162895" sldId="6031"/>
        </pc:sldMkLst>
        <pc:spChg chg="mod">
          <ac:chgData name="Catarina Ventura" userId="clgCAneAcqVaT36vHjgJNiaXoskptfmWeBylcRmkiJ0=" providerId="None" clId="Web-{CA256F42-EABD-41C1-8088-79A0F9AE5CA0}" dt="2025-04-11T08:07:20.855" v="0" actId="20577"/>
          <ac:spMkLst>
            <pc:docMk/>
            <pc:sldMk cId="2563162895" sldId="6031"/>
            <ac:spMk id="4" creationId="{47ED7675-6667-D24B-91BC-481190D00DC0}"/>
          </ac:spMkLst>
        </pc:spChg>
      </pc:sldChg>
      <pc:sldChg chg="modSp">
        <pc:chgData name="Catarina Ventura" userId="clgCAneAcqVaT36vHjgJNiaXoskptfmWeBylcRmkiJ0=" providerId="None" clId="Web-{CA256F42-EABD-41C1-8088-79A0F9AE5CA0}" dt="2025-04-11T08:10:08.897" v="5" actId="20577"/>
        <pc:sldMkLst>
          <pc:docMk/>
          <pc:sldMk cId="193473194" sldId="2146847468"/>
        </pc:sldMkLst>
        <pc:spChg chg="mod">
          <ac:chgData name="Catarina Ventura" userId="clgCAneAcqVaT36vHjgJNiaXoskptfmWeBylcRmkiJ0=" providerId="None" clId="Web-{CA256F42-EABD-41C1-8088-79A0F9AE5CA0}" dt="2025-04-11T08:10:08.897" v="5" actId="20577"/>
          <ac:spMkLst>
            <pc:docMk/>
            <pc:sldMk cId="193473194" sldId="2146847468"/>
            <ac:spMk id="4" creationId="{47ED7675-6667-D24B-91BC-481190D00DC0}"/>
          </ac:spMkLst>
        </pc:spChg>
      </pc:sldChg>
      <pc:sldChg chg="modSp">
        <pc:chgData name="Catarina Ventura" userId="clgCAneAcqVaT36vHjgJNiaXoskptfmWeBylcRmkiJ0=" providerId="None" clId="Web-{CA256F42-EABD-41C1-8088-79A0F9AE5CA0}" dt="2025-04-11T08:12:40.626" v="7" actId="1076"/>
        <pc:sldMkLst>
          <pc:docMk/>
          <pc:sldMk cId="2067932624" sldId="2146847523"/>
        </pc:sldMkLst>
        <pc:picChg chg="mod">
          <ac:chgData name="Catarina Ventura" userId="clgCAneAcqVaT36vHjgJNiaXoskptfmWeBylcRmkiJ0=" providerId="None" clId="Web-{CA256F42-EABD-41C1-8088-79A0F9AE5CA0}" dt="2025-04-11T08:12:40.626" v="7" actId="1076"/>
          <ac:picMkLst>
            <pc:docMk/>
            <pc:sldMk cId="2067932624" sldId="2146847523"/>
            <ac:picMk id="6" creationId="{9B835C6F-AF3C-6BC8-CD25-1E95C848EE4F}"/>
          </ac:picMkLst>
        </pc:picChg>
      </pc:sldChg>
      <pc:sldChg chg="modSp">
        <pc:chgData name="Catarina Ventura" userId="clgCAneAcqVaT36vHjgJNiaXoskptfmWeBylcRmkiJ0=" providerId="None" clId="Web-{CA256F42-EABD-41C1-8088-79A0F9AE5CA0}" dt="2025-04-11T08:13:10.534" v="10" actId="20577"/>
        <pc:sldMkLst>
          <pc:docMk/>
          <pc:sldMk cId="2149944796" sldId="2146847592"/>
        </pc:sldMkLst>
        <pc:spChg chg="mod">
          <ac:chgData name="Catarina Ventura" userId="clgCAneAcqVaT36vHjgJNiaXoskptfmWeBylcRmkiJ0=" providerId="None" clId="Web-{CA256F42-EABD-41C1-8088-79A0F9AE5CA0}" dt="2025-04-11T08:13:10.534" v="10" actId="20577"/>
          <ac:spMkLst>
            <pc:docMk/>
            <pc:sldMk cId="2149944796" sldId="2146847592"/>
            <ac:spMk id="4" creationId="{47ED7675-6667-D24B-91BC-481190D00DC0}"/>
          </ac:spMkLst>
        </pc:spChg>
      </pc:sldChg>
    </pc:docChg>
  </pc:docChgLst>
  <pc:docChgLst>
    <pc:chgData name="Catarina Ventura" userId="clgCAneAcqVaT36vHjgJNiaXoskptfmWeBylcRmkiJ0=" providerId="None" clId="Web-{66B2B09A-94F8-4DD5-A619-1A6EE2E9ED75}"/>
    <pc:docChg chg="delSld modSection">
      <pc:chgData name="Catarina Ventura" userId="clgCAneAcqVaT36vHjgJNiaXoskptfmWeBylcRmkiJ0=" providerId="None" clId="Web-{66B2B09A-94F8-4DD5-A619-1A6EE2E9ED75}" dt="2025-05-14T10:04:13.393" v="0"/>
      <pc:docMkLst>
        <pc:docMk/>
      </pc:docMkLst>
      <pc:sldChg chg="del">
        <pc:chgData name="Catarina Ventura" userId="clgCAneAcqVaT36vHjgJNiaXoskptfmWeBylcRmkiJ0=" providerId="None" clId="Web-{66B2B09A-94F8-4DD5-A619-1A6EE2E9ED75}" dt="2025-05-14T10:04:13.393" v="0"/>
        <pc:sldMkLst>
          <pc:docMk/>
          <pc:sldMk cId="2149944796" sldId="2146847592"/>
        </pc:sldMkLst>
      </pc:sldChg>
    </pc:docChg>
  </pc:docChgLst>
  <pc:docChgLst>
    <pc:chgData name="Jiri Suk" userId="I+B7rKq4k0po50I+dRzNxOCOULr9e0vPFYC27OhNzUs=" providerId="None" clId="Web-{7F8C110A-875F-4518-A061-6EA040ABB40A}"/>
    <pc:docChg chg="modSld">
      <pc:chgData name="Jiri Suk" userId="I+B7rKq4k0po50I+dRzNxOCOULr9e0vPFYC27OhNzUs=" providerId="None" clId="Web-{7F8C110A-875F-4518-A061-6EA040ABB40A}" dt="2025-04-09T13:02:04.775" v="33" actId="20577"/>
      <pc:docMkLst>
        <pc:docMk/>
      </pc:docMkLst>
      <pc:sldChg chg="addSp modSp">
        <pc:chgData name="Jiri Suk" userId="I+B7rKq4k0po50I+dRzNxOCOULr9e0vPFYC27OhNzUs=" providerId="None" clId="Web-{7F8C110A-875F-4518-A061-6EA040ABB40A}" dt="2025-04-09T12:59:20.956" v="0"/>
        <pc:sldMkLst>
          <pc:docMk/>
          <pc:sldMk cId="1922665196" sldId="2146847473"/>
        </pc:sldMkLst>
        <pc:picChg chg="add mod">
          <ac:chgData name="Jiri Suk" userId="I+B7rKq4k0po50I+dRzNxOCOULr9e0vPFYC27OhNzUs=" providerId="None" clId="Web-{7F8C110A-875F-4518-A061-6EA040ABB40A}" dt="2025-04-09T12:59:20.956" v="0"/>
          <ac:picMkLst>
            <pc:docMk/>
            <pc:sldMk cId="1922665196" sldId="2146847473"/>
            <ac:picMk id="4" creationId="{62C5E97A-3D15-0FEA-C0A3-A66FC7C83042}"/>
          </ac:picMkLst>
        </pc:picChg>
      </pc:sldChg>
      <pc:sldChg chg="modSp">
        <pc:chgData name="Jiri Suk" userId="I+B7rKq4k0po50I+dRzNxOCOULr9e0vPFYC27OhNzUs=" providerId="None" clId="Web-{7F8C110A-875F-4518-A061-6EA040ABB40A}" dt="2025-04-09T13:02:04.775" v="33" actId="20577"/>
        <pc:sldMkLst>
          <pc:docMk/>
          <pc:sldMk cId="2304546945" sldId="2146847656"/>
        </pc:sldMkLst>
        <pc:spChg chg="mod">
          <ac:chgData name="Jiri Suk" userId="I+B7rKq4k0po50I+dRzNxOCOULr9e0vPFYC27OhNzUs=" providerId="None" clId="Web-{7F8C110A-875F-4518-A061-6EA040ABB40A}" dt="2025-04-09T13:02:04.775" v="33" actId="20577"/>
          <ac:spMkLst>
            <pc:docMk/>
            <pc:sldMk cId="2304546945" sldId="2146847656"/>
            <ac:spMk id="3" creationId="{781F92F7-211B-49A7-9669-D729AE87376A}"/>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9841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24" name="Rectangle 4"/>
          <p:cNvSpPr>
            <a:spLocks noGrp="1" noRot="1" noChangeAspect="1" noChangeArrowheads="1" noTextEdit="1"/>
          </p:cNvSpPr>
          <p:nvPr>
            <p:ph type="sldImg" idx="2"/>
          </p:nvPr>
        </p:nvSpPr>
        <p:spPr bwMode="auto">
          <a:xfrm>
            <a:off x="711200" y="746125"/>
            <a:ext cx="5375275" cy="3721100"/>
          </a:xfrm>
          <a:prstGeom prst="rect">
            <a:avLst/>
          </a:prstGeom>
          <a:noFill/>
          <a:ln w="9525">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Tree>
    <p:extLst>
      <p:ext uri="{BB962C8B-B14F-4D97-AF65-F5344CB8AC3E}">
        <p14:creationId xmlns:p14="http://schemas.microsoft.com/office/powerpoint/2010/main" val="2038026400"/>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Unicode MS" pitchFamily="34" charset="-128"/>
        <a:ea typeface="ＭＳ Ｐゴシック" charset="0"/>
        <a:cs typeface="ＭＳ Ｐゴシック" charset="0"/>
      </a:defRPr>
    </a:lvl1pPr>
    <a:lvl2pPr marL="457200" algn="l" rtl="0" eaLnBrk="0" fontAlgn="base" hangingPunct="0">
      <a:spcBef>
        <a:spcPct val="30000"/>
      </a:spcBef>
      <a:spcAft>
        <a:spcPct val="0"/>
      </a:spcAft>
      <a:defRPr sz="1200" kern="1200">
        <a:solidFill>
          <a:schemeClr val="tx1"/>
        </a:solidFill>
        <a:latin typeface="Arial Unicode MS" pitchFamily="34" charset="-128"/>
        <a:ea typeface="ＭＳ Ｐゴシック" charset="0"/>
        <a:cs typeface="+mn-cs"/>
      </a:defRPr>
    </a:lvl2pPr>
    <a:lvl3pPr marL="914400" algn="l" rtl="0" eaLnBrk="0" fontAlgn="base" hangingPunct="0">
      <a:spcBef>
        <a:spcPct val="30000"/>
      </a:spcBef>
      <a:spcAft>
        <a:spcPct val="0"/>
      </a:spcAft>
      <a:defRPr sz="1200" kern="1200">
        <a:solidFill>
          <a:schemeClr val="tx1"/>
        </a:solidFill>
        <a:latin typeface="Arial Unicode MS" pitchFamily="34" charset="-128"/>
        <a:ea typeface="ＭＳ Ｐゴシック" charset="0"/>
        <a:cs typeface="+mn-cs"/>
      </a:defRPr>
    </a:lvl3pPr>
    <a:lvl4pPr marL="1371600" algn="l" rtl="0" eaLnBrk="0" fontAlgn="base" hangingPunct="0">
      <a:spcBef>
        <a:spcPct val="30000"/>
      </a:spcBef>
      <a:spcAft>
        <a:spcPct val="0"/>
      </a:spcAft>
      <a:defRPr sz="1200" kern="1200">
        <a:solidFill>
          <a:schemeClr val="tx1"/>
        </a:solidFill>
        <a:latin typeface="Arial Unicode MS" pitchFamily="34" charset="-128"/>
        <a:ea typeface="ＭＳ Ｐゴシック" charset="0"/>
        <a:cs typeface="+mn-cs"/>
      </a:defRPr>
    </a:lvl4pPr>
    <a:lvl5pPr marL="1828800" algn="l" rtl="0" eaLnBrk="0" fontAlgn="base" hangingPunct="0">
      <a:spcBef>
        <a:spcPct val="30000"/>
      </a:spcBef>
      <a:spcAft>
        <a:spcPct val="0"/>
      </a:spcAft>
      <a:defRPr sz="1200" kern="1200">
        <a:solidFill>
          <a:schemeClr val="tx1"/>
        </a:solidFill>
        <a:latin typeface="Arial Unicode MS" pitchFamily="34" charset="-128"/>
        <a:ea typeface="ＭＳ Ｐゴシック"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9001420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4294967295"/>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9017536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4294967295"/>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40516187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4294967295"/>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3627116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13266890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25483183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36285284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24349440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485563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2162571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23603312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4294967295"/>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22738936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4648029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40870304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242573776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15285450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42831302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27941705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3637878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2701975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365934128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14877016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4294967295"/>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26499331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16555739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95103155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38061704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8104433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100008327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163106073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286682005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376997161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407610722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24319520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D51607-29CB-677A-98B5-038B39FD66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E9E3CE-AB8C-1A42-748C-EB64EB7015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2AE93B6-969D-BFAE-45C5-BA24D14254A6}"/>
              </a:ext>
            </a:extLst>
          </p:cNvPr>
          <p:cNvSpPr>
            <a:spLocks noGrp="1"/>
          </p:cNvSpPr>
          <p:nvPr>
            <p:ph type="body" idx="4294967295"/>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13328247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783046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394405713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379251893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408247358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88196769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410375417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109779762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19813384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4294967295"/>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40534118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4294967295"/>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19047922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4294967295"/>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13002670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4294967295"/>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37691500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4294967295"/>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14164491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9.gif"/><Relationship Id="rId13" Type="http://schemas.openxmlformats.org/officeDocument/2006/relationships/image" Target="../media/image14.jpeg"/><Relationship Id="rId18" Type="http://schemas.openxmlformats.org/officeDocument/2006/relationships/image" Target="../media/image19.svg"/><Relationship Id="rId3" Type="http://schemas.openxmlformats.org/officeDocument/2006/relationships/image" Target="../media/image4.png"/><Relationship Id="rId7" Type="http://schemas.openxmlformats.org/officeDocument/2006/relationships/image" Target="../media/image8.jpg"/><Relationship Id="rId12" Type="http://schemas.openxmlformats.org/officeDocument/2006/relationships/image" Target="../media/image13.png"/><Relationship Id="rId17" Type="http://schemas.openxmlformats.org/officeDocument/2006/relationships/image" Target="../media/image18.png"/><Relationship Id="rId2" Type="http://schemas.openxmlformats.org/officeDocument/2006/relationships/image" Target="../media/image3.jpeg"/><Relationship Id="rId16" Type="http://schemas.openxmlformats.org/officeDocument/2006/relationships/image" Target="../media/image17.svg"/><Relationship Id="rId1" Type="http://schemas.openxmlformats.org/officeDocument/2006/relationships/slideMaster" Target="../slideMasters/slideMaster1.xml"/><Relationship Id="rId6" Type="http://schemas.openxmlformats.org/officeDocument/2006/relationships/image" Target="../media/image7.jpeg"/><Relationship Id="rId11" Type="http://schemas.openxmlformats.org/officeDocument/2006/relationships/image" Target="../media/image12.jpeg"/><Relationship Id="rId5" Type="http://schemas.openxmlformats.org/officeDocument/2006/relationships/image" Target="../media/image6.jpeg"/><Relationship Id="rId15" Type="http://schemas.openxmlformats.org/officeDocument/2006/relationships/image" Target="../media/image16.png"/><Relationship Id="rId10" Type="http://schemas.openxmlformats.org/officeDocument/2006/relationships/image" Target="../media/image11.png"/><Relationship Id="rId4" Type="http://schemas.openxmlformats.org/officeDocument/2006/relationships/image" Target="../media/image5.jpg"/><Relationship Id="rId9" Type="http://schemas.openxmlformats.org/officeDocument/2006/relationships/image" Target="../media/image10.png"/><Relationship Id="rId14" Type="http://schemas.openxmlformats.org/officeDocument/2006/relationships/image" Target="../media/image15.jpe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9.gif"/><Relationship Id="rId13" Type="http://schemas.openxmlformats.org/officeDocument/2006/relationships/image" Target="../media/image14.jpeg"/><Relationship Id="rId18" Type="http://schemas.openxmlformats.org/officeDocument/2006/relationships/image" Target="../media/image19.svg"/><Relationship Id="rId3" Type="http://schemas.openxmlformats.org/officeDocument/2006/relationships/image" Target="../media/image4.png"/><Relationship Id="rId7" Type="http://schemas.openxmlformats.org/officeDocument/2006/relationships/image" Target="../media/image8.jpg"/><Relationship Id="rId12" Type="http://schemas.openxmlformats.org/officeDocument/2006/relationships/image" Target="../media/image13.png"/><Relationship Id="rId17" Type="http://schemas.openxmlformats.org/officeDocument/2006/relationships/image" Target="../media/image18.png"/><Relationship Id="rId2" Type="http://schemas.openxmlformats.org/officeDocument/2006/relationships/image" Target="../media/image3.jpeg"/><Relationship Id="rId16" Type="http://schemas.openxmlformats.org/officeDocument/2006/relationships/image" Target="../media/image17.svg"/><Relationship Id="rId1" Type="http://schemas.openxmlformats.org/officeDocument/2006/relationships/slideMaster" Target="../slideMasters/slideMaster1.xml"/><Relationship Id="rId6" Type="http://schemas.openxmlformats.org/officeDocument/2006/relationships/image" Target="../media/image7.jpeg"/><Relationship Id="rId11" Type="http://schemas.openxmlformats.org/officeDocument/2006/relationships/image" Target="../media/image12.jpeg"/><Relationship Id="rId5" Type="http://schemas.openxmlformats.org/officeDocument/2006/relationships/image" Target="../media/image6.jpeg"/><Relationship Id="rId15" Type="http://schemas.openxmlformats.org/officeDocument/2006/relationships/image" Target="../media/image16.png"/><Relationship Id="rId10" Type="http://schemas.openxmlformats.org/officeDocument/2006/relationships/image" Target="../media/image11.png"/><Relationship Id="rId4" Type="http://schemas.openxmlformats.org/officeDocument/2006/relationships/image" Target="../media/image5.jpg"/><Relationship Id="rId9" Type="http://schemas.openxmlformats.org/officeDocument/2006/relationships/image" Target="../media/image10.png"/><Relationship Id="rId14" Type="http://schemas.openxmlformats.org/officeDocument/2006/relationships/image" Target="../media/image15.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999" y="108000"/>
            <a:ext cx="7044142" cy="336550"/>
          </a:xfrm>
        </p:spPr>
        <p:txBody>
          <a:bodyPr vert="horz" lIns="72000" tIns="36000" rIns="72000" bIns="36000" rtlCol="0" anchor="t">
            <a:noAutofit/>
          </a:bodyPr>
          <a:lstStyle>
            <a:lvl1pPr>
              <a:defRPr lang="nl-NL" sz="1600" b="1" i="0" dirty="0">
                <a:solidFill>
                  <a:srgbClr val="3366FF"/>
                </a:solidFill>
                <a:latin typeface="+mn-lt"/>
                <a:ea typeface="Arial Unicode MS" panose="020B0604020202020204" pitchFamily="34" charset="-128"/>
                <a:cs typeface="Arial" panose="020B0604020202020204" pitchFamily="34" charset="0"/>
              </a:defRPr>
            </a:lvl1pPr>
          </a:lstStyle>
          <a:p>
            <a:pPr marL="0" lvl="0" indent="0" algn="l" rtl="0" eaLnBrk="1" fontAlgn="base" hangingPunct="1">
              <a:spcBef>
                <a:spcPts val="400"/>
              </a:spcBef>
              <a:spcAft>
                <a:spcPct val="0"/>
              </a:spcAft>
              <a:buClr>
                <a:schemeClr val="bg1"/>
              </a:buClr>
              <a:buSzPct val="120000"/>
              <a:buFont typeface="Arial" panose="020B0604020202020204" pitchFamily="34" charset="0"/>
              <a:buNone/>
            </a:pPr>
            <a:r>
              <a:rPr lang="en-US" dirty="0"/>
              <a:t>Click to edit Master title style</a:t>
            </a:r>
            <a:endParaRPr lang="nl-NL" dirty="0"/>
          </a:p>
        </p:txBody>
      </p:sp>
      <p:sp>
        <p:nvSpPr>
          <p:cNvPr id="13" name="Text Placeholder 12"/>
          <p:cNvSpPr>
            <a:spLocks noGrp="1"/>
          </p:cNvSpPr>
          <p:nvPr>
            <p:ph type="body" sz="quarter" idx="16" hasCustomPrompt="1"/>
          </p:nvPr>
        </p:nvSpPr>
        <p:spPr>
          <a:xfrm>
            <a:off x="540000" y="461650"/>
            <a:ext cx="8640000" cy="363850"/>
          </a:xfrm>
          <a:prstGeom prst="rect">
            <a:avLst/>
          </a:prstGeom>
        </p:spPr>
        <p:txBody>
          <a:bodyPr vert="horz" lIns="72000" tIns="36000" rIns="72000" bIns="36000" rtlCol="0" anchor="t">
            <a:noAutofit/>
          </a:bodyPr>
          <a:lstStyle>
            <a:lvl1pPr>
              <a:defRPr lang="nl-NL" sz="1400" b="0" i="0" dirty="0">
                <a:solidFill>
                  <a:srgbClr val="3366FF"/>
                </a:solidFill>
                <a:latin typeface="+mj-lt"/>
              </a:defRPr>
            </a:lvl1pPr>
          </a:lstStyle>
          <a:p>
            <a:pPr lvl="0">
              <a:spcBef>
                <a:spcPct val="0"/>
              </a:spcBef>
            </a:pPr>
            <a:r>
              <a:rPr lang="en-US" dirty="0"/>
              <a:t>Click to </a:t>
            </a:r>
            <a:r>
              <a:rPr lang="en-US"/>
              <a:t>edit Description</a:t>
            </a:r>
            <a:endParaRPr lang="en-US" dirty="0"/>
          </a:p>
        </p:txBody>
      </p:sp>
      <p:sp>
        <p:nvSpPr>
          <p:cNvPr id="4" name="Content Placeholder 3"/>
          <p:cNvSpPr>
            <a:spLocks noGrp="1"/>
          </p:cNvSpPr>
          <p:nvPr>
            <p:ph sz="quarter" idx="17"/>
          </p:nvPr>
        </p:nvSpPr>
        <p:spPr>
          <a:xfrm>
            <a:off x="540000" y="1080000"/>
            <a:ext cx="9000000" cy="4320000"/>
          </a:xfrm>
        </p:spPr>
        <p:txBody>
          <a:bodyPr/>
          <a:lstStyle>
            <a:lvl1pPr>
              <a:defRPr b="0" i="0">
                <a:solidFill>
                  <a:srgbClr val="3366FF"/>
                </a:solidFill>
                <a:latin typeface="+mn-lt"/>
              </a:defRPr>
            </a:lvl1pPr>
            <a:lvl2pPr>
              <a:defRPr b="0" i="0">
                <a:latin typeface="+mn-lt"/>
              </a:defRPr>
            </a:lvl2pPr>
            <a:lvl3pPr>
              <a:defRPr b="0" i="0">
                <a:latin typeface="+mn-lt"/>
              </a:defRPr>
            </a:lvl3pPr>
            <a:lvl4pPr>
              <a:defRPr b="0" i="0">
                <a:latin typeface="+mn-lt"/>
              </a:defRPr>
            </a:lvl4pPr>
            <a:lvl5pPr>
              <a:defRPr>
                <a:latin typeface="+mn-lt"/>
              </a:defRPr>
            </a:lvl5pPr>
          </a:lstStyle>
          <a:p>
            <a:pPr lvl="0"/>
            <a:r>
              <a:rPr lang="en-US" dirty="0"/>
              <a:t>Edit Master text styles</a:t>
            </a:r>
          </a:p>
          <a:p>
            <a:pPr lvl="1"/>
            <a:r>
              <a:rPr lang="en-US" dirty="0"/>
              <a:t>[Add text]</a:t>
            </a:r>
          </a:p>
          <a:p>
            <a:pPr lvl="2"/>
            <a:r>
              <a:rPr lang="en-US" dirty="0"/>
              <a:t>[Add text]</a:t>
            </a:r>
          </a:p>
          <a:p>
            <a:pPr lvl="3"/>
            <a:r>
              <a:rPr lang="en-US" dirty="0"/>
              <a:t>[Add text]</a:t>
            </a:r>
            <a:endParaRPr lang="nl-NL" dirty="0"/>
          </a:p>
        </p:txBody>
      </p:sp>
      <p:sp>
        <p:nvSpPr>
          <p:cNvPr id="6" name="Espace réservé du numéro de diapositive 1">
            <a:extLst>
              <a:ext uri="{FF2B5EF4-FFF2-40B4-BE49-F238E27FC236}">
                <a16:creationId xmlns:a16="http://schemas.microsoft.com/office/drawing/2014/main" id="{20A0F5B2-75A8-4841-A428-67AD9E889F7B}"/>
              </a:ext>
            </a:extLst>
          </p:cNvPr>
          <p:cNvSpPr>
            <a:spLocks noGrp="1"/>
          </p:cNvSpPr>
          <p:nvPr>
            <p:ph type="sldNum" sz="quarter" idx="4"/>
          </p:nvPr>
        </p:nvSpPr>
        <p:spPr>
          <a:xfrm>
            <a:off x="9148969" y="6553200"/>
            <a:ext cx="665523"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dirty="0"/>
          </a:p>
        </p:txBody>
      </p:sp>
      <p:sp>
        <p:nvSpPr>
          <p:cNvPr id="7" name="Footer Placeholder 7">
            <a:extLst>
              <a:ext uri="{FF2B5EF4-FFF2-40B4-BE49-F238E27FC236}">
                <a16:creationId xmlns:a16="http://schemas.microsoft.com/office/drawing/2014/main" id="{163FFC53-B4C8-3948-9F3E-8E9AA9898332}"/>
              </a:ext>
            </a:extLst>
          </p:cNvPr>
          <p:cNvSpPr>
            <a:spLocks noGrp="1"/>
          </p:cNvSpPr>
          <p:nvPr>
            <p:ph type="ftr" sz="quarter" idx="3"/>
          </p:nvPr>
        </p:nvSpPr>
        <p:spPr>
          <a:xfrm>
            <a:off x="539999" y="6553200"/>
            <a:ext cx="3343275" cy="273089"/>
          </a:xfrm>
          <a:prstGeom prst="rect">
            <a:avLst/>
          </a:prstGeom>
        </p:spPr>
        <p:txBody>
          <a:bodyPr vert="horz" lIns="72000" tIns="45720" rIns="72000" bIns="45720" rtlCol="0" anchor="ctr"/>
          <a:lstStyle>
            <a:lvl1pPr algn="l">
              <a:defRPr lang="en-GB" sz="900" b="0" i="0" dirty="0">
                <a:solidFill>
                  <a:schemeClr val="bg1">
                    <a:lumMod val="50000"/>
                  </a:schemeClr>
                </a:solidFill>
                <a:latin typeface="+mn-lt"/>
                <a:ea typeface="Arial Unicode MS" panose="020B0604020202020204" pitchFamily="34" charset="-128"/>
                <a:cs typeface="Arial" panose="020B0604020202020204" pitchFamily="34" charset="0"/>
              </a:defRPr>
            </a:lvl1pPr>
          </a:lstStyle>
          <a:p>
            <a:r>
              <a:rPr lang="en-GB"/>
              <a:t>Core | DD/MM/YYYY</a:t>
            </a:r>
            <a:endParaRPr lang="en-NL" dirty="0"/>
          </a:p>
        </p:txBody>
      </p:sp>
    </p:spTree>
    <p:extLst>
      <p:ext uri="{BB962C8B-B14F-4D97-AF65-F5344CB8AC3E}">
        <p14:creationId xmlns:p14="http://schemas.microsoft.com/office/powerpoint/2010/main" val="1196366649"/>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9999" y="108000"/>
            <a:ext cx="6798796" cy="336550"/>
          </a:xfrm>
        </p:spPr>
        <p:txBody>
          <a:bodyPr vert="horz" lIns="72000" tIns="36000" rIns="72000" bIns="36000" rtlCol="0" anchor="t">
            <a:noAutofit/>
          </a:bodyPr>
          <a:lstStyle>
            <a:lvl1pPr>
              <a:defRPr lang="nl-NL" sz="1600" b="1" i="0" dirty="0">
                <a:solidFill>
                  <a:srgbClr val="3366FF"/>
                </a:solidFill>
                <a:latin typeface="+mn-lt"/>
                <a:ea typeface="Arial Unicode MS" panose="020B0604020202020204" pitchFamily="34" charset="-128"/>
                <a:cs typeface="Arial" panose="020B0604020202020204" pitchFamily="34" charset="0"/>
              </a:defRPr>
            </a:lvl1pPr>
          </a:lstStyle>
          <a:p>
            <a:pPr marL="0" lvl="0" indent="0" algn="l" rtl="0" eaLnBrk="1" fontAlgn="base" hangingPunct="1">
              <a:spcBef>
                <a:spcPts val="400"/>
              </a:spcBef>
              <a:spcAft>
                <a:spcPct val="0"/>
              </a:spcAft>
              <a:buClr>
                <a:schemeClr val="bg1"/>
              </a:buClr>
              <a:buSzPct val="120000"/>
              <a:buFont typeface="Arial" panose="020B0604020202020204" pitchFamily="34" charset="0"/>
              <a:buNone/>
            </a:pPr>
            <a:r>
              <a:rPr lang="en-US" dirty="0"/>
              <a:t>Click to edit Master title style</a:t>
            </a:r>
            <a:endParaRPr lang="nl-NL" dirty="0"/>
          </a:p>
        </p:txBody>
      </p:sp>
      <p:sp>
        <p:nvSpPr>
          <p:cNvPr id="13" name="Text Placeholder 12"/>
          <p:cNvSpPr>
            <a:spLocks noGrp="1"/>
          </p:cNvSpPr>
          <p:nvPr>
            <p:ph type="body" sz="quarter" idx="16" hasCustomPrompt="1"/>
          </p:nvPr>
        </p:nvSpPr>
        <p:spPr>
          <a:xfrm>
            <a:off x="540000" y="461650"/>
            <a:ext cx="8376894" cy="363850"/>
          </a:xfrm>
          <a:prstGeom prst="rect">
            <a:avLst/>
          </a:prstGeom>
        </p:spPr>
        <p:txBody>
          <a:bodyPr vert="horz" lIns="72000" tIns="36000" rIns="72000" bIns="36000" rtlCol="0" anchor="t">
            <a:noAutofit/>
          </a:bodyPr>
          <a:lstStyle>
            <a:lvl1pPr>
              <a:defRPr lang="nl-NL" sz="1400" b="0" i="0" dirty="0">
                <a:solidFill>
                  <a:srgbClr val="3366FF"/>
                </a:solidFill>
                <a:latin typeface="+mj-lt"/>
              </a:defRPr>
            </a:lvl1pPr>
          </a:lstStyle>
          <a:p>
            <a:pPr lvl="0">
              <a:spcBef>
                <a:spcPct val="0"/>
              </a:spcBef>
            </a:pPr>
            <a:r>
              <a:rPr lang="en-US" dirty="0"/>
              <a:t>Click to edit Description</a:t>
            </a:r>
          </a:p>
          <a:p>
            <a:pPr lvl="0">
              <a:spcBef>
                <a:spcPct val="0"/>
              </a:spcBef>
            </a:pPr>
            <a:endParaRPr lang="nl-NL" dirty="0"/>
          </a:p>
        </p:txBody>
      </p:sp>
      <p:sp>
        <p:nvSpPr>
          <p:cNvPr id="6" name="Espace réservé du numéro de diapositive 1">
            <a:extLst>
              <a:ext uri="{FF2B5EF4-FFF2-40B4-BE49-F238E27FC236}">
                <a16:creationId xmlns:a16="http://schemas.microsoft.com/office/drawing/2014/main" id="{A202140A-AFAB-44A8-AB9C-F5EEF12E385F}"/>
              </a:ext>
            </a:extLst>
          </p:cNvPr>
          <p:cNvSpPr>
            <a:spLocks noGrp="1"/>
          </p:cNvSpPr>
          <p:nvPr>
            <p:ph type="sldNum" sz="quarter" idx="4"/>
          </p:nvPr>
        </p:nvSpPr>
        <p:spPr>
          <a:xfrm>
            <a:off x="9148969" y="6553200"/>
            <a:ext cx="665523"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dirty="0"/>
          </a:p>
        </p:txBody>
      </p:sp>
      <p:sp>
        <p:nvSpPr>
          <p:cNvPr id="5" name="Footer Placeholder 7">
            <a:extLst>
              <a:ext uri="{FF2B5EF4-FFF2-40B4-BE49-F238E27FC236}">
                <a16:creationId xmlns:a16="http://schemas.microsoft.com/office/drawing/2014/main" id="{36FB24C9-4EA8-1C44-B915-5E92856272EC}"/>
              </a:ext>
            </a:extLst>
          </p:cNvPr>
          <p:cNvSpPr>
            <a:spLocks noGrp="1"/>
          </p:cNvSpPr>
          <p:nvPr>
            <p:ph type="ftr" sz="quarter" idx="3"/>
          </p:nvPr>
        </p:nvSpPr>
        <p:spPr>
          <a:xfrm>
            <a:off x="539999" y="6553200"/>
            <a:ext cx="3343275" cy="273089"/>
          </a:xfrm>
          <a:prstGeom prst="rect">
            <a:avLst/>
          </a:prstGeom>
        </p:spPr>
        <p:txBody>
          <a:bodyPr vert="horz" lIns="72000" tIns="45720" rIns="72000" bIns="45720" rtlCol="0" anchor="ctr"/>
          <a:lstStyle>
            <a:lvl1pPr algn="l">
              <a:defRPr lang="en-GB" sz="900" b="0" i="0" dirty="0">
                <a:solidFill>
                  <a:schemeClr val="bg1">
                    <a:lumMod val="50000"/>
                  </a:schemeClr>
                </a:solidFill>
                <a:latin typeface="+mn-lt"/>
                <a:ea typeface="Arial Unicode MS" panose="020B0604020202020204" pitchFamily="34" charset="-128"/>
                <a:cs typeface="Arial" panose="020B0604020202020204" pitchFamily="34" charset="0"/>
              </a:defRPr>
            </a:lvl1pPr>
          </a:lstStyle>
          <a:p>
            <a:r>
              <a:rPr lang="en-GB"/>
              <a:t>Core | DD/MM/YYYY</a:t>
            </a:r>
            <a:endParaRPr lang="en-NL" dirty="0"/>
          </a:p>
        </p:txBody>
      </p:sp>
    </p:spTree>
    <p:extLst>
      <p:ext uri="{BB962C8B-B14F-4D97-AF65-F5344CB8AC3E}">
        <p14:creationId xmlns:p14="http://schemas.microsoft.com/office/powerpoint/2010/main" val="843459211"/>
      </p:ext>
    </p:extLst>
  </p:cSld>
  <p:clrMapOvr>
    <a:masterClrMapping/>
  </p:clrMapOvr>
  <p:hf hdr="0" ftr="0" dt="0"/>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926168" y="2912663"/>
            <a:ext cx="7395317" cy="792162"/>
          </a:xfrm>
          <a:prstGeom prst="rect">
            <a:avLst/>
          </a:prstGeom>
        </p:spPr>
        <p:txBody>
          <a:bodyPr/>
          <a:lstStyle>
            <a:lvl1pPr marL="0" indent="0">
              <a:buNone/>
              <a:defRPr lang="en-US" sz="1800" b="0" i="0" baseline="0" dirty="0">
                <a:solidFill>
                  <a:schemeClr val="tx2"/>
                </a:solidFill>
                <a:latin typeface="+mn-lt"/>
                <a:ea typeface="Arial Unicode MS" panose="020B0604020202020204" pitchFamily="34" charset="-128"/>
                <a:cs typeface="Arial" panose="020B0604020202020204" pitchFamily="34" charset="0"/>
              </a:defRPr>
            </a:lvl1pPr>
          </a:lstStyle>
          <a:p>
            <a:pPr lvl="0"/>
            <a:r>
              <a:rPr lang="en-US" dirty="0"/>
              <a:t>Date, Place</a:t>
            </a:r>
          </a:p>
        </p:txBody>
      </p:sp>
      <p:sp>
        <p:nvSpPr>
          <p:cNvPr id="15" name="Text Placeholder 15"/>
          <p:cNvSpPr>
            <a:spLocks noGrp="1"/>
          </p:cNvSpPr>
          <p:nvPr>
            <p:ph type="body" sz="quarter" idx="12" hasCustomPrompt="1"/>
          </p:nvPr>
        </p:nvSpPr>
        <p:spPr>
          <a:xfrm>
            <a:off x="1927517" y="1792322"/>
            <a:ext cx="7395317" cy="792162"/>
          </a:xfrm>
          <a:prstGeom prst="rect">
            <a:avLst/>
          </a:prstGeom>
        </p:spPr>
        <p:txBody>
          <a:bodyPr anchor="ctr" anchorCtr="0">
            <a:noAutofit/>
          </a:bodyPr>
          <a:lstStyle>
            <a:lvl1pPr marL="0" indent="0">
              <a:buNone/>
              <a:defRPr lang="en-US" sz="3000" b="0" i="0" baseline="0" dirty="0">
                <a:solidFill>
                  <a:srgbClr val="3366FF"/>
                </a:solidFill>
                <a:latin typeface="+mn-lt"/>
                <a:ea typeface="Arial Unicode MS" panose="020B0604020202020204" pitchFamily="34" charset="-128"/>
                <a:cs typeface="Arial" panose="020B0604020202020204" pitchFamily="34" charset="0"/>
              </a:defRPr>
            </a:lvl1pPr>
          </a:lstStyle>
          <a:p>
            <a:pPr lvl="0"/>
            <a:r>
              <a:rPr lang="en-US" dirty="0"/>
              <a:t>Name of the meeting</a:t>
            </a:r>
          </a:p>
        </p:txBody>
      </p:sp>
      <p:grpSp>
        <p:nvGrpSpPr>
          <p:cNvPr id="161" name="Graphic 3">
            <a:extLst>
              <a:ext uri="{FF2B5EF4-FFF2-40B4-BE49-F238E27FC236}">
                <a16:creationId xmlns:a16="http://schemas.microsoft.com/office/drawing/2014/main" id="{0CD8ADA5-8F92-4554-B026-77F47736CA6D}"/>
              </a:ext>
            </a:extLst>
          </p:cNvPr>
          <p:cNvGrpSpPr>
            <a:grpSpLocks/>
          </p:cNvGrpSpPr>
          <p:nvPr userDrawn="1"/>
        </p:nvGrpSpPr>
        <p:grpSpPr>
          <a:xfrm>
            <a:off x="4830577" y="2379445"/>
            <a:ext cx="5580000" cy="4460400"/>
            <a:chOff x="66025" y="-34306"/>
            <a:chExt cx="6381750" cy="5895975"/>
          </a:xfrm>
          <a:scene3d>
            <a:camera prst="perspectiveRight">
              <a:rot lat="0" lon="19500000" rev="0"/>
            </a:camera>
            <a:lightRig rig="threePt" dir="t"/>
          </a:scene3d>
        </p:grpSpPr>
        <p:sp>
          <p:nvSpPr>
            <p:cNvPr id="162" name="Freeform: Shape 161">
              <a:extLst>
                <a:ext uri="{FF2B5EF4-FFF2-40B4-BE49-F238E27FC236}">
                  <a16:creationId xmlns:a16="http://schemas.microsoft.com/office/drawing/2014/main" id="{4E29C2D3-A23A-475E-ADFD-E18D9CA663A9}"/>
                </a:ext>
              </a:extLst>
            </p:cNvPr>
            <p:cNvSpPr/>
            <p:nvPr/>
          </p:nvSpPr>
          <p:spPr>
            <a:xfrm>
              <a:off x="5751687" y="4420250"/>
              <a:ext cx="484155" cy="202882"/>
            </a:xfrm>
            <a:custGeom>
              <a:avLst/>
              <a:gdLst>
                <a:gd name="connsiteX0" fmla="*/ 426530 w 484155"/>
                <a:gd name="connsiteY0" fmla="*/ 0 h 202882"/>
                <a:gd name="connsiteX1" fmla="*/ 396050 w 484155"/>
                <a:gd name="connsiteY1" fmla="*/ 0 h 202882"/>
                <a:gd name="connsiteX2" fmla="*/ 0 w 484155"/>
                <a:gd name="connsiteY2" fmla="*/ 95 h 202882"/>
                <a:gd name="connsiteX3" fmla="*/ 0 w 484155"/>
                <a:gd name="connsiteY3" fmla="*/ 196596 h 202882"/>
                <a:gd name="connsiteX4" fmla="*/ 476 w 484155"/>
                <a:gd name="connsiteY4" fmla="*/ 202882 h 202882"/>
                <a:gd name="connsiteX5" fmla="*/ 69152 w 484155"/>
                <a:gd name="connsiteY5" fmla="*/ 135255 h 202882"/>
                <a:gd name="connsiteX6" fmla="*/ 426530 w 484155"/>
                <a:gd name="connsiteY6" fmla="*/ 135350 h 202882"/>
                <a:gd name="connsiteX7" fmla="*/ 484156 w 484155"/>
                <a:gd name="connsiteY7" fmla="*/ 77724 h 202882"/>
                <a:gd name="connsiteX8" fmla="*/ 484156 w 484155"/>
                <a:gd name="connsiteY8" fmla="*/ 57721 h 202882"/>
                <a:gd name="connsiteX9" fmla="*/ 426530 w 484155"/>
                <a:gd name="connsiteY9" fmla="*/ 0 h 20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155" h="202882">
                  <a:moveTo>
                    <a:pt x="426530" y="0"/>
                  </a:moveTo>
                  <a:lnTo>
                    <a:pt x="396050" y="0"/>
                  </a:lnTo>
                  <a:cubicBezTo>
                    <a:pt x="63913" y="0"/>
                    <a:pt x="40767" y="0"/>
                    <a:pt x="0" y="95"/>
                  </a:cubicBezTo>
                  <a:lnTo>
                    <a:pt x="0" y="196596"/>
                  </a:lnTo>
                  <a:cubicBezTo>
                    <a:pt x="571" y="196977"/>
                    <a:pt x="476" y="199930"/>
                    <a:pt x="476" y="202882"/>
                  </a:cubicBezTo>
                  <a:cubicBezTo>
                    <a:pt x="476" y="170497"/>
                    <a:pt x="7334" y="135255"/>
                    <a:pt x="69152" y="135255"/>
                  </a:cubicBezTo>
                  <a:lnTo>
                    <a:pt x="426530" y="135350"/>
                  </a:lnTo>
                  <a:cubicBezTo>
                    <a:pt x="458248" y="135350"/>
                    <a:pt x="484156" y="109442"/>
                    <a:pt x="484156" y="77724"/>
                  </a:cubicBezTo>
                  <a:lnTo>
                    <a:pt x="484156" y="57721"/>
                  </a:lnTo>
                  <a:cubicBezTo>
                    <a:pt x="484156" y="25908"/>
                    <a:pt x="458153" y="0"/>
                    <a:pt x="426530" y="0"/>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3" name="Freeform: Shape 162">
              <a:extLst>
                <a:ext uri="{FF2B5EF4-FFF2-40B4-BE49-F238E27FC236}">
                  <a16:creationId xmlns:a16="http://schemas.microsoft.com/office/drawing/2014/main" id="{234AE2FD-7B38-405F-825B-32C4DFBE3385}"/>
                </a:ext>
              </a:extLst>
            </p:cNvPr>
            <p:cNvSpPr/>
            <p:nvPr/>
          </p:nvSpPr>
          <p:spPr>
            <a:xfrm>
              <a:off x="4971686" y="52273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4" name="Freeform: Shape 163">
              <a:extLst>
                <a:ext uri="{FF2B5EF4-FFF2-40B4-BE49-F238E27FC236}">
                  <a16:creationId xmlns:a16="http://schemas.microsoft.com/office/drawing/2014/main" id="{7544EF93-D6DB-4383-8F27-964E55DFD859}"/>
                </a:ext>
              </a:extLst>
            </p:cNvPr>
            <p:cNvSpPr/>
            <p:nvPr/>
          </p:nvSpPr>
          <p:spPr>
            <a:xfrm>
              <a:off x="4507341" y="448711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5" name="Freeform: Shape 164">
              <a:extLst>
                <a:ext uri="{FF2B5EF4-FFF2-40B4-BE49-F238E27FC236}">
                  <a16:creationId xmlns:a16="http://schemas.microsoft.com/office/drawing/2014/main" id="{51E76D50-2021-4BFC-9880-8D03EC62ECC1}"/>
                </a:ext>
              </a:extLst>
            </p:cNvPr>
            <p:cNvSpPr/>
            <p:nvPr/>
          </p:nvSpPr>
          <p:spPr>
            <a:xfrm>
              <a:off x="4659360" y="479953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6" name="Freeform: Shape 165">
              <a:extLst>
                <a:ext uri="{FF2B5EF4-FFF2-40B4-BE49-F238E27FC236}">
                  <a16:creationId xmlns:a16="http://schemas.microsoft.com/office/drawing/2014/main" id="{2E9D3B00-85FC-4691-A0E3-08835F15F394}"/>
                </a:ext>
              </a:extLst>
            </p:cNvPr>
            <p:cNvSpPr/>
            <p:nvPr/>
          </p:nvSpPr>
          <p:spPr>
            <a:xfrm>
              <a:off x="4806046" y="50789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7" name="Freeform: Shape 166">
              <a:extLst>
                <a:ext uri="{FF2B5EF4-FFF2-40B4-BE49-F238E27FC236}">
                  <a16:creationId xmlns:a16="http://schemas.microsoft.com/office/drawing/2014/main" id="{6EC0746B-8391-4A6E-84B9-4FCD93197C17}"/>
                </a:ext>
              </a:extLst>
            </p:cNvPr>
            <p:cNvSpPr/>
            <p:nvPr/>
          </p:nvSpPr>
          <p:spPr>
            <a:xfrm>
              <a:off x="539988" y="2223595"/>
              <a:ext cx="151257" cy="159829"/>
            </a:xfrm>
            <a:custGeom>
              <a:avLst/>
              <a:gdLst>
                <a:gd name="connsiteX0" fmla="*/ 151257 w 151257"/>
                <a:gd name="connsiteY0" fmla="*/ 159829 h 159829"/>
                <a:gd name="connsiteX1" fmla="*/ 151257 w 151257"/>
                <a:gd name="connsiteY1" fmla="*/ 83439 h 159829"/>
                <a:gd name="connsiteX2" fmla="*/ 67818 w 151257"/>
                <a:gd name="connsiteY2" fmla="*/ 0 h 159829"/>
                <a:gd name="connsiteX3" fmla="*/ 0 w 151257"/>
                <a:gd name="connsiteY3" fmla="*/ 0 h 159829"/>
                <a:gd name="connsiteX4" fmla="*/ 0 w 151257"/>
                <a:gd name="connsiteY4" fmla="*/ 76391 h 159829"/>
                <a:gd name="connsiteX5" fmla="*/ 83439 w 151257"/>
                <a:gd name="connsiteY5" fmla="*/ 159829 h 159829"/>
                <a:gd name="connsiteX6" fmla="*/ 151257 w 151257"/>
                <a:gd name="connsiteY6" fmla="*/ 159829 h 15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257" h="159829">
                  <a:moveTo>
                    <a:pt x="151257" y="159829"/>
                  </a:moveTo>
                  <a:lnTo>
                    <a:pt x="151257" y="83439"/>
                  </a:lnTo>
                  <a:cubicBezTo>
                    <a:pt x="151257" y="37529"/>
                    <a:pt x="113729" y="0"/>
                    <a:pt x="67818" y="0"/>
                  </a:cubicBezTo>
                  <a:lnTo>
                    <a:pt x="0" y="0"/>
                  </a:lnTo>
                  <a:lnTo>
                    <a:pt x="0" y="76391"/>
                  </a:lnTo>
                  <a:cubicBezTo>
                    <a:pt x="0" y="122301"/>
                    <a:pt x="37529" y="159829"/>
                    <a:pt x="83439" y="159829"/>
                  </a:cubicBezTo>
                  <a:lnTo>
                    <a:pt x="151257" y="159829"/>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8" name="Freeform: Shape 167">
              <a:extLst>
                <a:ext uri="{FF2B5EF4-FFF2-40B4-BE49-F238E27FC236}">
                  <a16:creationId xmlns:a16="http://schemas.microsoft.com/office/drawing/2014/main" id="{003148F5-74A7-44E6-9797-EA3C6C4F2724}"/>
                </a:ext>
              </a:extLst>
            </p:cNvPr>
            <p:cNvSpPr/>
            <p:nvPr/>
          </p:nvSpPr>
          <p:spPr>
            <a:xfrm>
              <a:off x="243761" y="2223595"/>
              <a:ext cx="447484" cy="566261"/>
            </a:xfrm>
            <a:custGeom>
              <a:avLst/>
              <a:gdLst>
                <a:gd name="connsiteX0" fmla="*/ 83344 w 447484"/>
                <a:gd name="connsiteY0" fmla="*/ 566261 h 566261"/>
                <a:gd name="connsiteX1" fmla="*/ 364046 w 447484"/>
                <a:gd name="connsiteY1" fmla="*/ 566261 h 566261"/>
                <a:gd name="connsiteX2" fmla="*/ 447485 w 447484"/>
                <a:gd name="connsiteY2" fmla="*/ 482822 h 566261"/>
                <a:gd name="connsiteX3" fmla="*/ 447485 w 447484"/>
                <a:gd name="connsiteY3" fmla="*/ 240316 h 566261"/>
                <a:gd name="connsiteX4" fmla="*/ 447485 w 447484"/>
                <a:gd name="connsiteY4" fmla="*/ 159829 h 566261"/>
                <a:gd name="connsiteX5" fmla="*/ 379667 w 447484"/>
                <a:gd name="connsiteY5" fmla="*/ 159829 h 566261"/>
                <a:gd name="connsiteX6" fmla="*/ 375952 w 447484"/>
                <a:gd name="connsiteY6" fmla="*/ 159829 h 566261"/>
                <a:gd name="connsiteX7" fmla="*/ 372999 w 447484"/>
                <a:gd name="connsiteY7" fmla="*/ 159544 h 566261"/>
                <a:gd name="connsiteX8" fmla="*/ 296228 w 447484"/>
                <a:gd name="connsiteY8" fmla="*/ 76391 h 566261"/>
                <a:gd name="connsiteX9" fmla="*/ 296228 w 447484"/>
                <a:gd name="connsiteY9" fmla="*/ 0 h 566261"/>
                <a:gd name="connsiteX10" fmla="*/ 237458 w 447484"/>
                <a:gd name="connsiteY10" fmla="*/ 0 h 566261"/>
                <a:gd name="connsiteX11" fmla="*/ 156496 w 447484"/>
                <a:gd name="connsiteY11" fmla="*/ 78676 h 566261"/>
                <a:gd name="connsiteX12" fmla="*/ 77153 w 447484"/>
                <a:gd name="connsiteY12" fmla="*/ 159639 h 566261"/>
                <a:gd name="connsiteX13" fmla="*/ 0 w 447484"/>
                <a:gd name="connsiteY13" fmla="*/ 240506 h 566261"/>
                <a:gd name="connsiteX14" fmla="*/ 0 w 447484"/>
                <a:gd name="connsiteY14" fmla="*/ 482632 h 566261"/>
                <a:gd name="connsiteX15" fmla="*/ 83344 w 447484"/>
                <a:gd name="connsiteY15" fmla="*/ 566261 h 56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484" h="566261">
                  <a:moveTo>
                    <a:pt x="83344" y="566261"/>
                  </a:moveTo>
                  <a:lnTo>
                    <a:pt x="364046" y="566261"/>
                  </a:lnTo>
                  <a:cubicBezTo>
                    <a:pt x="409956" y="566261"/>
                    <a:pt x="447485" y="528733"/>
                    <a:pt x="447485" y="482822"/>
                  </a:cubicBezTo>
                  <a:lnTo>
                    <a:pt x="447485" y="240316"/>
                  </a:lnTo>
                  <a:lnTo>
                    <a:pt x="447485" y="159829"/>
                  </a:lnTo>
                  <a:lnTo>
                    <a:pt x="379667" y="159829"/>
                  </a:lnTo>
                  <a:cubicBezTo>
                    <a:pt x="378428" y="159829"/>
                    <a:pt x="377190" y="159829"/>
                    <a:pt x="375952" y="159829"/>
                  </a:cubicBezTo>
                  <a:cubicBezTo>
                    <a:pt x="374999" y="159734"/>
                    <a:pt x="373951" y="159639"/>
                    <a:pt x="372999" y="159544"/>
                  </a:cubicBezTo>
                  <a:cubicBezTo>
                    <a:pt x="330232" y="156115"/>
                    <a:pt x="296228" y="120015"/>
                    <a:pt x="296228" y="76391"/>
                  </a:cubicBezTo>
                  <a:lnTo>
                    <a:pt x="296228" y="0"/>
                  </a:lnTo>
                  <a:lnTo>
                    <a:pt x="237458" y="0"/>
                  </a:lnTo>
                  <a:cubicBezTo>
                    <a:pt x="193643" y="0"/>
                    <a:pt x="157734" y="34957"/>
                    <a:pt x="156496" y="78676"/>
                  </a:cubicBezTo>
                  <a:cubicBezTo>
                    <a:pt x="155258" y="122110"/>
                    <a:pt x="120396" y="157543"/>
                    <a:pt x="77153" y="159639"/>
                  </a:cubicBezTo>
                  <a:cubicBezTo>
                    <a:pt x="33909" y="161734"/>
                    <a:pt x="0" y="197263"/>
                    <a:pt x="0" y="240506"/>
                  </a:cubicBezTo>
                  <a:lnTo>
                    <a:pt x="0" y="482632"/>
                  </a:lnTo>
                  <a:cubicBezTo>
                    <a:pt x="0" y="528733"/>
                    <a:pt x="37529" y="566261"/>
                    <a:pt x="83344" y="566261"/>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9" name="Freeform: Shape 168">
              <a:extLst>
                <a:ext uri="{FF2B5EF4-FFF2-40B4-BE49-F238E27FC236}">
                  <a16:creationId xmlns:a16="http://schemas.microsoft.com/office/drawing/2014/main" id="{7F547AD2-0592-4BBE-8DAA-E39DA7FA4765}"/>
                </a:ext>
              </a:extLst>
            </p:cNvPr>
            <p:cNvSpPr/>
            <p:nvPr/>
          </p:nvSpPr>
          <p:spPr>
            <a:xfrm>
              <a:off x="718392" y="1652285"/>
              <a:ext cx="1079087" cy="1436369"/>
            </a:xfrm>
            <a:custGeom>
              <a:avLst/>
              <a:gdLst>
                <a:gd name="connsiteX0" fmla="*/ 235363 w 1079087"/>
                <a:gd name="connsiteY0" fmla="*/ 707612 h 1436369"/>
                <a:gd name="connsiteX1" fmla="*/ 366617 w 1079087"/>
                <a:gd name="connsiteY1" fmla="*/ 707612 h 1436369"/>
                <a:gd name="connsiteX2" fmla="*/ 373856 w 1079087"/>
                <a:gd name="connsiteY2" fmla="*/ 707326 h 1436369"/>
                <a:gd name="connsiteX3" fmla="*/ 387953 w 1079087"/>
                <a:gd name="connsiteY3" fmla="*/ 707326 h 1436369"/>
                <a:gd name="connsiteX4" fmla="*/ 388906 w 1079087"/>
                <a:gd name="connsiteY4" fmla="*/ 707422 h 1436369"/>
                <a:gd name="connsiteX5" fmla="*/ 463772 w 1079087"/>
                <a:gd name="connsiteY5" fmla="*/ 788194 h 1436369"/>
                <a:gd name="connsiteX6" fmla="*/ 463772 w 1079087"/>
                <a:gd name="connsiteY6" fmla="*/ 789527 h 1436369"/>
                <a:gd name="connsiteX7" fmla="*/ 386239 w 1079087"/>
                <a:gd name="connsiteY7" fmla="*/ 870490 h 1436369"/>
                <a:gd name="connsiteX8" fmla="*/ 306896 w 1079087"/>
                <a:gd name="connsiteY8" fmla="*/ 945166 h 1436369"/>
                <a:gd name="connsiteX9" fmla="*/ 226314 w 1079087"/>
                <a:gd name="connsiteY9" fmla="*/ 1017746 h 1436369"/>
                <a:gd name="connsiteX10" fmla="*/ 206407 w 1079087"/>
                <a:gd name="connsiteY10" fmla="*/ 1017746 h 1436369"/>
                <a:gd name="connsiteX11" fmla="*/ 146495 w 1079087"/>
                <a:gd name="connsiteY11" fmla="*/ 1077658 h 1436369"/>
                <a:gd name="connsiteX12" fmla="*/ 146495 w 1079087"/>
                <a:gd name="connsiteY12" fmla="*/ 1083850 h 1436369"/>
                <a:gd name="connsiteX13" fmla="*/ 206407 w 1079087"/>
                <a:gd name="connsiteY13" fmla="*/ 1143762 h 1436369"/>
                <a:gd name="connsiteX14" fmla="*/ 225362 w 1079087"/>
                <a:gd name="connsiteY14" fmla="*/ 1143762 h 1436369"/>
                <a:gd name="connsiteX15" fmla="*/ 306324 w 1079087"/>
                <a:gd name="connsiteY15" fmla="*/ 1224724 h 1436369"/>
                <a:gd name="connsiteX16" fmla="*/ 306324 w 1079087"/>
                <a:gd name="connsiteY16" fmla="*/ 1229392 h 1436369"/>
                <a:gd name="connsiteX17" fmla="*/ 225362 w 1079087"/>
                <a:gd name="connsiteY17" fmla="*/ 1310354 h 1436369"/>
                <a:gd name="connsiteX18" fmla="*/ 59912 w 1079087"/>
                <a:gd name="connsiteY18" fmla="*/ 1310354 h 1436369"/>
                <a:gd name="connsiteX19" fmla="*/ 0 w 1079087"/>
                <a:gd name="connsiteY19" fmla="*/ 1370266 h 1436369"/>
                <a:gd name="connsiteX20" fmla="*/ 0 w 1079087"/>
                <a:gd name="connsiteY20" fmla="*/ 1376458 h 1436369"/>
                <a:gd name="connsiteX21" fmla="*/ 59912 w 1079087"/>
                <a:gd name="connsiteY21" fmla="*/ 1436370 h 1436369"/>
                <a:gd name="connsiteX22" fmla="*/ 389954 w 1079087"/>
                <a:gd name="connsiteY22" fmla="*/ 1436370 h 1436369"/>
                <a:gd name="connsiteX23" fmla="*/ 397764 w 1079087"/>
                <a:gd name="connsiteY23" fmla="*/ 1436370 h 1436369"/>
                <a:gd name="connsiteX24" fmla="*/ 521208 w 1079087"/>
                <a:gd name="connsiteY24" fmla="*/ 1436370 h 1436369"/>
                <a:gd name="connsiteX25" fmla="*/ 603980 w 1079087"/>
                <a:gd name="connsiteY25" fmla="*/ 1363218 h 1436369"/>
                <a:gd name="connsiteX26" fmla="*/ 684371 w 1079087"/>
                <a:gd name="connsiteY26" fmla="*/ 1292162 h 1436369"/>
                <a:gd name="connsiteX27" fmla="*/ 838390 w 1079087"/>
                <a:gd name="connsiteY27" fmla="*/ 1292162 h 1436369"/>
                <a:gd name="connsiteX28" fmla="*/ 920782 w 1079087"/>
                <a:gd name="connsiteY28" fmla="*/ 1221581 h 1436369"/>
                <a:gd name="connsiteX29" fmla="*/ 998315 w 1079087"/>
                <a:gd name="connsiteY29" fmla="*/ 1153192 h 1436369"/>
                <a:gd name="connsiteX30" fmla="*/ 1079087 w 1079087"/>
                <a:gd name="connsiteY30" fmla="*/ 1069848 h 1436369"/>
                <a:gd name="connsiteX31" fmla="*/ 1079087 w 1079087"/>
                <a:gd name="connsiteY31" fmla="*/ 956310 h 1436369"/>
                <a:gd name="connsiteX32" fmla="*/ 998792 w 1079087"/>
                <a:gd name="connsiteY32" fmla="*/ 872966 h 1436369"/>
                <a:gd name="connsiteX33" fmla="*/ 921258 w 1079087"/>
                <a:gd name="connsiteY33" fmla="*/ 800672 h 1436369"/>
                <a:gd name="connsiteX34" fmla="*/ 840581 w 1079087"/>
                <a:gd name="connsiteY34" fmla="*/ 726186 h 1436369"/>
                <a:gd name="connsiteX35" fmla="*/ 761810 w 1079087"/>
                <a:gd name="connsiteY35" fmla="*/ 645223 h 1436369"/>
                <a:gd name="connsiteX36" fmla="*/ 761810 w 1079087"/>
                <a:gd name="connsiteY36" fmla="*/ 515969 h 1436369"/>
                <a:gd name="connsiteX37" fmla="*/ 684657 w 1079087"/>
                <a:gd name="connsiteY37" fmla="*/ 432816 h 1436369"/>
                <a:gd name="connsiteX38" fmla="*/ 609695 w 1079087"/>
                <a:gd name="connsiteY38" fmla="*/ 352044 h 1436369"/>
                <a:gd name="connsiteX39" fmla="*/ 609695 w 1079087"/>
                <a:gd name="connsiteY39" fmla="*/ 224980 h 1436369"/>
                <a:gd name="connsiteX40" fmla="*/ 527780 w 1079087"/>
                <a:gd name="connsiteY40" fmla="*/ 141541 h 1436369"/>
                <a:gd name="connsiteX41" fmla="*/ 449009 w 1079087"/>
                <a:gd name="connsiteY41" fmla="*/ 71818 h 1436369"/>
                <a:gd name="connsiteX42" fmla="*/ 366427 w 1079087"/>
                <a:gd name="connsiteY42" fmla="*/ 0 h 1436369"/>
                <a:gd name="connsiteX43" fmla="*/ 235363 w 1079087"/>
                <a:gd name="connsiteY43" fmla="*/ 0 h 1436369"/>
                <a:gd name="connsiteX44" fmla="*/ 151924 w 1079087"/>
                <a:gd name="connsiteY44" fmla="*/ 83439 h 1436369"/>
                <a:gd name="connsiteX45" fmla="*/ 151924 w 1079087"/>
                <a:gd name="connsiteY45" fmla="*/ 624268 h 1436369"/>
                <a:gd name="connsiteX46" fmla="*/ 235363 w 1079087"/>
                <a:gd name="connsiteY46" fmla="*/ 707612 h 14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79087" h="1436369">
                  <a:moveTo>
                    <a:pt x="235363" y="707612"/>
                  </a:moveTo>
                  <a:lnTo>
                    <a:pt x="366617" y="707612"/>
                  </a:lnTo>
                  <a:cubicBezTo>
                    <a:pt x="369094" y="707612"/>
                    <a:pt x="371475" y="707517"/>
                    <a:pt x="373856" y="707326"/>
                  </a:cubicBezTo>
                  <a:cubicBezTo>
                    <a:pt x="378809" y="706850"/>
                    <a:pt x="383000" y="706850"/>
                    <a:pt x="387953" y="707326"/>
                  </a:cubicBezTo>
                  <a:cubicBezTo>
                    <a:pt x="388239" y="707326"/>
                    <a:pt x="388620" y="707422"/>
                    <a:pt x="388906" y="707422"/>
                  </a:cubicBezTo>
                  <a:cubicBezTo>
                    <a:pt x="431292" y="710660"/>
                    <a:pt x="463772" y="745712"/>
                    <a:pt x="463772" y="788194"/>
                  </a:cubicBezTo>
                  <a:lnTo>
                    <a:pt x="463772" y="789527"/>
                  </a:lnTo>
                  <a:cubicBezTo>
                    <a:pt x="463772" y="832866"/>
                    <a:pt x="429578" y="868585"/>
                    <a:pt x="386239" y="870490"/>
                  </a:cubicBezTo>
                  <a:cubicBezTo>
                    <a:pt x="344900" y="872299"/>
                    <a:pt x="311182" y="904494"/>
                    <a:pt x="306896" y="945166"/>
                  </a:cubicBezTo>
                  <a:cubicBezTo>
                    <a:pt x="302514" y="986599"/>
                    <a:pt x="267938" y="1017746"/>
                    <a:pt x="226314" y="1017746"/>
                  </a:cubicBezTo>
                  <a:lnTo>
                    <a:pt x="206407" y="1017746"/>
                  </a:lnTo>
                  <a:cubicBezTo>
                    <a:pt x="173450" y="1017746"/>
                    <a:pt x="146495" y="1044702"/>
                    <a:pt x="146495" y="1077658"/>
                  </a:cubicBezTo>
                  <a:lnTo>
                    <a:pt x="146495" y="1083850"/>
                  </a:lnTo>
                  <a:cubicBezTo>
                    <a:pt x="146495" y="1116806"/>
                    <a:pt x="173450" y="1143762"/>
                    <a:pt x="206407" y="1143762"/>
                  </a:cubicBezTo>
                  <a:lnTo>
                    <a:pt x="225362" y="1143762"/>
                  </a:lnTo>
                  <a:cubicBezTo>
                    <a:pt x="269939" y="1143762"/>
                    <a:pt x="306324" y="1180148"/>
                    <a:pt x="306324" y="1224724"/>
                  </a:cubicBezTo>
                  <a:lnTo>
                    <a:pt x="306324" y="1229392"/>
                  </a:lnTo>
                  <a:cubicBezTo>
                    <a:pt x="306324" y="1273969"/>
                    <a:pt x="269939" y="1310354"/>
                    <a:pt x="225362" y="1310354"/>
                  </a:cubicBezTo>
                  <a:lnTo>
                    <a:pt x="59912" y="1310354"/>
                  </a:lnTo>
                  <a:cubicBezTo>
                    <a:pt x="26956" y="1310354"/>
                    <a:pt x="0" y="1337310"/>
                    <a:pt x="0" y="1370266"/>
                  </a:cubicBezTo>
                  <a:lnTo>
                    <a:pt x="0" y="1376458"/>
                  </a:lnTo>
                  <a:cubicBezTo>
                    <a:pt x="0" y="1409414"/>
                    <a:pt x="26956" y="1436370"/>
                    <a:pt x="59912" y="1436370"/>
                  </a:cubicBezTo>
                  <a:lnTo>
                    <a:pt x="389954" y="1436370"/>
                  </a:lnTo>
                  <a:lnTo>
                    <a:pt x="397764" y="1436370"/>
                  </a:lnTo>
                  <a:lnTo>
                    <a:pt x="521208" y="1436370"/>
                  </a:lnTo>
                  <a:cubicBezTo>
                    <a:pt x="563594" y="1436370"/>
                    <a:pt x="598932" y="1404271"/>
                    <a:pt x="603980" y="1363218"/>
                  </a:cubicBezTo>
                  <a:cubicBezTo>
                    <a:pt x="609028" y="1322451"/>
                    <a:pt x="643223" y="1292162"/>
                    <a:pt x="684371" y="1292162"/>
                  </a:cubicBezTo>
                  <a:lnTo>
                    <a:pt x="838390" y="1292162"/>
                  </a:lnTo>
                  <a:cubicBezTo>
                    <a:pt x="879920" y="1292162"/>
                    <a:pt x="914590" y="1261396"/>
                    <a:pt x="920782" y="1221581"/>
                  </a:cubicBezTo>
                  <a:cubicBezTo>
                    <a:pt x="926878" y="1182719"/>
                    <a:pt x="958977" y="1154335"/>
                    <a:pt x="998315" y="1153192"/>
                  </a:cubicBezTo>
                  <a:cubicBezTo>
                    <a:pt x="1042988" y="1151763"/>
                    <a:pt x="1079087" y="1114806"/>
                    <a:pt x="1079087" y="1069848"/>
                  </a:cubicBezTo>
                  <a:lnTo>
                    <a:pt x="1079087" y="956310"/>
                  </a:lnTo>
                  <a:cubicBezTo>
                    <a:pt x="1079087" y="911447"/>
                    <a:pt x="1043273" y="874586"/>
                    <a:pt x="998792" y="872966"/>
                  </a:cubicBezTo>
                  <a:cubicBezTo>
                    <a:pt x="958310" y="871442"/>
                    <a:pt x="925640" y="840962"/>
                    <a:pt x="921258" y="800672"/>
                  </a:cubicBezTo>
                  <a:cubicBezTo>
                    <a:pt x="916877" y="759619"/>
                    <a:pt x="882396" y="727329"/>
                    <a:pt x="840581" y="726186"/>
                  </a:cubicBezTo>
                  <a:cubicBezTo>
                    <a:pt x="796766" y="724948"/>
                    <a:pt x="761810" y="689038"/>
                    <a:pt x="761810" y="645223"/>
                  </a:cubicBezTo>
                  <a:lnTo>
                    <a:pt x="761810" y="515969"/>
                  </a:lnTo>
                  <a:cubicBezTo>
                    <a:pt x="761810" y="472154"/>
                    <a:pt x="727615" y="436055"/>
                    <a:pt x="684657" y="432816"/>
                  </a:cubicBezTo>
                  <a:cubicBezTo>
                    <a:pt x="642271" y="429577"/>
                    <a:pt x="609695" y="394525"/>
                    <a:pt x="609695" y="352044"/>
                  </a:cubicBezTo>
                  <a:lnTo>
                    <a:pt x="609695" y="224980"/>
                  </a:lnTo>
                  <a:cubicBezTo>
                    <a:pt x="609695" y="179641"/>
                    <a:pt x="572929" y="142399"/>
                    <a:pt x="527780" y="141541"/>
                  </a:cubicBezTo>
                  <a:cubicBezTo>
                    <a:pt x="487680" y="140875"/>
                    <a:pt x="454533" y="111538"/>
                    <a:pt x="449009" y="71818"/>
                  </a:cubicBezTo>
                  <a:cubicBezTo>
                    <a:pt x="443294" y="31337"/>
                    <a:pt x="408337" y="0"/>
                    <a:pt x="366427" y="0"/>
                  </a:cubicBezTo>
                  <a:lnTo>
                    <a:pt x="235363" y="0"/>
                  </a:lnTo>
                  <a:cubicBezTo>
                    <a:pt x="189452" y="0"/>
                    <a:pt x="151924" y="37528"/>
                    <a:pt x="151924" y="83439"/>
                  </a:cubicBezTo>
                  <a:lnTo>
                    <a:pt x="151924" y="624268"/>
                  </a:lnTo>
                  <a:cubicBezTo>
                    <a:pt x="151924" y="670084"/>
                    <a:pt x="189452" y="707612"/>
                    <a:pt x="235363" y="707612"/>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0" name="Freeform: Shape 169">
              <a:extLst>
                <a:ext uri="{FF2B5EF4-FFF2-40B4-BE49-F238E27FC236}">
                  <a16:creationId xmlns:a16="http://schemas.microsoft.com/office/drawing/2014/main" id="{570D6ED2-D417-4439-9C27-7A1895C9117A}"/>
                </a:ext>
              </a:extLst>
            </p:cNvPr>
            <p:cNvSpPr/>
            <p:nvPr/>
          </p:nvSpPr>
          <p:spPr>
            <a:xfrm>
              <a:off x="4979019" y="1499219"/>
              <a:ext cx="450437" cy="290036"/>
            </a:xfrm>
            <a:custGeom>
              <a:avLst/>
              <a:gdLst>
                <a:gd name="connsiteX0" fmla="*/ 450438 w 450437"/>
                <a:gd name="connsiteY0" fmla="*/ 0 h 290036"/>
                <a:gd name="connsiteX1" fmla="*/ 70009 w 450437"/>
                <a:gd name="connsiteY1" fmla="*/ 0 h 290036"/>
                <a:gd name="connsiteX2" fmla="*/ 0 w 450437"/>
                <a:gd name="connsiteY2" fmla="*/ 70009 h 290036"/>
                <a:gd name="connsiteX3" fmla="*/ 0 w 450437"/>
                <a:gd name="connsiteY3" fmla="*/ 220028 h 290036"/>
                <a:gd name="connsiteX4" fmla="*/ 70009 w 450437"/>
                <a:gd name="connsiteY4" fmla="*/ 290036 h 290036"/>
                <a:gd name="connsiteX5" fmla="*/ 450438 w 450437"/>
                <a:gd name="connsiteY5" fmla="*/ 290036 h 290036"/>
                <a:gd name="connsiteX6" fmla="*/ 450438 w 450437"/>
                <a:gd name="connsiteY6" fmla="*/ 0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437" h="290036">
                  <a:moveTo>
                    <a:pt x="450438" y="0"/>
                  </a:moveTo>
                  <a:lnTo>
                    <a:pt x="70009" y="0"/>
                  </a:lnTo>
                  <a:cubicBezTo>
                    <a:pt x="31528" y="0"/>
                    <a:pt x="0" y="31528"/>
                    <a:pt x="0" y="70009"/>
                  </a:cubicBezTo>
                  <a:lnTo>
                    <a:pt x="0" y="220028"/>
                  </a:lnTo>
                  <a:cubicBezTo>
                    <a:pt x="0" y="258509"/>
                    <a:pt x="31528" y="290036"/>
                    <a:pt x="70009" y="290036"/>
                  </a:cubicBezTo>
                  <a:lnTo>
                    <a:pt x="450438" y="290036"/>
                  </a:lnTo>
                  <a:lnTo>
                    <a:pt x="450438"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1" name="Freeform: Shape 170">
              <a:extLst>
                <a:ext uri="{FF2B5EF4-FFF2-40B4-BE49-F238E27FC236}">
                  <a16:creationId xmlns:a16="http://schemas.microsoft.com/office/drawing/2014/main" id="{FDE50500-F2AB-450F-908F-5EF21B38E96D}"/>
                </a:ext>
              </a:extLst>
            </p:cNvPr>
            <p:cNvSpPr/>
            <p:nvPr/>
          </p:nvSpPr>
          <p:spPr>
            <a:xfrm>
              <a:off x="4666981" y="1789445"/>
              <a:ext cx="762571" cy="290036"/>
            </a:xfrm>
            <a:custGeom>
              <a:avLst/>
              <a:gdLst>
                <a:gd name="connsiteX0" fmla="*/ 762476 w 762571"/>
                <a:gd name="connsiteY0" fmla="*/ 290036 h 290036"/>
                <a:gd name="connsiteX1" fmla="*/ 70009 w 762571"/>
                <a:gd name="connsiteY1" fmla="*/ 290036 h 290036"/>
                <a:gd name="connsiteX2" fmla="*/ 0 w 762571"/>
                <a:gd name="connsiteY2" fmla="*/ 220028 h 290036"/>
                <a:gd name="connsiteX3" fmla="*/ 0 w 762571"/>
                <a:gd name="connsiteY3" fmla="*/ 70009 h 290036"/>
                <a:gd name="connsiteX4" fmla="*/ 70009 w 762571"/>
                <a:gd name="connsiteY4" fmla="*/ 0 h 290036"/>
                <a:gd name="connsiteX5" fmla="*/ 208216 w 762571"/>
                <a:gd name="connsiteY5" fmla="*/ 0 h 290036"/>
                <a:gd name="connsiteX6" fmla="*/ 299847 w 762571"/>
                <a:gd name="connsiteY6" fmla="*/ 61531 h 290036"/>
                <a:gd name="connsiteX7" fmla="*/ 299847 w 762571"/>
                <a:gd name="connsiteY7" fmla="*/ 77629 h 290036"/>
                <a:gd name="connsiteX8" fmla="*/ 368046 w 762571"/>
                <a:gd name="connsiteY8" fmla="*/ 145828 h 290036"/>
                <a:gd name="connsiteX9" fmla="*/ 391763 w 762571"/>
                <a:gd name="connsiteY9" fmla="*/ 145828 h 290036"/>
                <a:gd name="connsiteX10" fmla="*/ 459962 w 762571"/>
                <a:gd name="connsiteY10" fmla="*/ 77629 h 290036"/>
                <a:gd name="connsiteX11" fmla="*/ 459962 w 762571"/>
                <a:gd name="connsiteY11" fmla="*/ 61531 h 290036"/>
                <a:gd name="connsiteX12" fmla="*/ 421005 w 762571"/>
                <a:gd name="connsiteY12" fmla="*/ 0 h 290036"/>
                <a:gd name="connsiteX13" fmla="*/ 762571 w 762571"/>
                <a:gd name="connsiteY13" fmla="*/ 0 h 290036"/>
                <a:gd name="connsiteX14" fmla="*/ 762571 w 762571"/>
                <a:gd name="connsiteY14" fmla="*/ 290036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571" h="290036">
                  <a:moveTo>
                    <a:pt x="762476" y="290036"/>
                  </a:moveTo>
                  <a:lnTo>
                    <a:pt x="70009" y="290036"/>
                  </a:lnTo>
                  <a:cubicBezTo>
                    <a:pt x="31528" y="290036"/>
                    <a:pt x="0" y="258509"/>
                    <a:pt x="0" y="220028"/>
                  </a:cubicBezTo>
                  <a:lnTo>
                    <a:pt x="0" y="70009"/>
                  </a:lnTo>
                  <a:cubicBezTo>
                    <a:pt x="0" y="31528"/>
                    <a:pt x="31528" y="0"/>
                    <a:pt x="70009" y="0"/>
                  </a:cubicBezTo>
                  <a:lnTo>
                    <a:pt x="208216" y="0"/>
                  </a:lnTo>
                  <a:cubicBezTo>
                    <a:pt x="268224" y="1143"/>
                    <a:pt x="299847" y="34480"/>
                    <a:pt x="299847" y="61531"/>
                  </a:cubicBezTo>
                  <a:lnTo>
                    <a:pt x="299847" y="77629"/>
                  </a:lnTo>
                  <a:cubicBezTo>
                    <a:pt x="299847" y="115157"/>
                    <a:pt x="330517" y="145828"/>
                    <a:pt x="368046" y="145828"/>
                  </a:cubicBezTo>
                  <a:lnTo>
                    <a:pt x="391763" y="145828"/>
                  </a:lnTo>
                  <a:cubicBezTo>
                    <a:pt x="429292" y="145828"/>
                    <a:pt x="459962" y="115157"/>
                    <a:pt x="459962" y="77629"/>
                  </a:cubicBezTo>
                  <a:lnTo>
                    <a:pt x="459962" y="61531"/>
                  </a:lnTo>
                  <a:cubicBezTo>
                    <a:pt x="459962" y="34480"/>
                    <a:pt x="443960" y="10954"/>
                    <a:pt x="421005" y="0"/>
                  </a:cubicBezTo>
                  <a:lnTo>
                    <a:pt x="762571" y="0"/>
                  </a:lnTo>
                  <a:lnTo>
                    <a:pt x="762571" y="290036"/>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2" name="Freeform: Shape 171">
              <a:extLst>
                <a:ext uri="{FF2B5EF4-FFF2-40B4-BE49-F238E27FC236}">
                  <a16:creationId xmlns:a16="http://schemas.microsoft.com/office/drawing/2014/main" id="{884C6493-08C8-4679-9200-FD8247C1B096}"/>
                </a:ext>
              </a:extLst>
            </p:cNvPr>
            <p:cNvSpPr/>
            <p:nvPr/>
          </p:nvSpPr>
          <p:spPr>
            <a:xfrm>
              <a:off x="4752787" y="2078719"/>
              <a:ext cx="676764" cy="280797"/>
            </a:xfrm>
            <a:custGeom>
              <a:avLst/>
              <a:gdLst>
                <a:gd name="connsiteX0" fmla="*/ 676764 w 676764"/>
                <a:gd name="connsiteY0" fmla="*/ 63056 h 280797"/>
                <a:gd name="connsiteX1" fmla="*/ 676764 w 676764"/>
                <a:gd name="connsiteY1" fmla="*/ 75914 h 280797"/>
                <a:gd name="connsiteX2" fmla="*/ 676764 w 676764"/>
                <a:gd name="connsiteY2" fmla="*/ 84106 h 280797"/>
                <a:gd name="connsiteX3" fmla="*/ 616281 w 676764"/>
                <a:gd name="connsiteY3" fmla="*/ 144590 h 280797"/>
                <a:gd name="connsiteX4" fmla="*/ 526174 w 676764"/>
                <a:gd name="connsiteY4" fmla="*/ 144590 h 280797"/>
                <a:gd name="connsiteX5" fmla="*/ 526174 w 676764"/>
                <a:gd name="connsiteY5" fmla="*/ 220313 h 280797"/>
                <a:gd name="connsiteX6" fmla="*/ 465691 w 676764"/>
                <a:gd name="connsiteY6" fmla="*/ 280797 h 280797"/>
                <a:gd name="connsiteX7" fmla="*/ 227566 w 676764"/>
                <a:gd name="connsiteY7" fmla="*/ 280797 h 280797"/>
                <a:gd name="connsiteX8" fmla="*/ 227566 w 676764"/>
                <a:gd name="connsiteY8" fmla="*/ 205073 h 280797"/>
                <a:gd name="connsiteX9" fmla="*/ 167082 w 676764"/>
                <a:gd name="connsiteY9" fmla="*/ 144590 h 280797"/>
                <a:gd name="connsiteX10" fmla="*/ 7348 w 676764"/>
                <a:gd name="connsiteY10" fmla="*/ 144590 h 280797"/>
                <a:gd name="connsiteX11" fmla="*/ 67832 w 676764"/>
                <a:gd name="connsiteY11" fmla="*/ 84106 h 280797"/>
                <a:gd name="connsiteX12" fmla="*/ 67832 w 676764"/>
                <a:gd name="connsiteY12" fmla="*/ 63056 h 280797"/>
                <a:gd name="connsiteX13" fmla="*/ 7348 w 676764"/>
                <a:gd name="connsiteY13" fmla="*/ 2572 h 280797"/>
                <a:gd name="connsiteX14" fmla="*/ 96502 w 676764"/>
                <a:gd name="connsiteY14" fmla="*/ 1905 h 280797"/>
                <a:gd name="connsiteX15" fmla="*/ 96502 w 676764"/>
                <a:gd name="connsiteY15" fmla="*/ 0 h 280797"/>
                <a:gd name="connsiteX16" fmla="*/ 465691 w 676764"/>
                <a:gd name="connsiteY16" fmla="*/ 0 h 280797"/>
                <a:gd name="connsiteX17" fmla="*/ 676764 w 676764"/>
                <a:gd name="connsiteY17" fmla="*/ 0 h 280797"/>
                <a:gd name="connsiteX18" fmla="*/ 676764 w 676764"/>
                <a:gd name="connsiteY18" fmla="*/ 63056 h 280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6764" h="280797">
                  <a:moveTo>
                    <a:pt x="676764" y="63056"/>
                  </a:moveTo>
                  <a:lnTo>
                    <a:pt x="676764" y="75914"/>
                  </a:lnTo>
                  <a:lnTo>
                    <a:pt x="676764" y="84106"/>
                  </a:lnTo>
                  <a:cubicBezTo>
                    <a:pt x="676764" y="117348"/>
                    <a:pt x="649523" y="144590"/>
                    <a:pt x="616281" y="144590"/>
                  </a:cubicBezTo>
                  <a:lnTo>
                    <a:pt x="526174" y="144590"/>
                  </a:lnTo>
                  <a:lnTo>
                    <a:pt x="526174" y="220313"/>
                  </a:lnTo>
                  <a:cubicBezTo>
                    <a:pt x="526174" y="253556"/>
                    <a:pt x="498933" y="280797"/>
                    <a:pt x="465691" y="280797"/>
                  </a:cubicBezTo>
                  <a:lnTo>
                    <a:pt x="227566" y="280797"/>
                  </a:lnTo>
                  <a:lnTo>
                    <a:pt x="227566" y="205073"/>
                  </a:lnTo>
                  <a:cubicBezTo>
                    <a:pt x="227566" y="171831"/>
                    <a:pt x="200324" y="144590"/>
                    <a:pt x="167082" y="144590"/>
                  </a:cubicBezTo>
                  <a:lnTo>
                    <a:pt x="7348" y="144590"/>
                  </a:lnTo>
                  <a:cubicBezTo>
                    <a:pt x="40590" y="144590"/>
                    <a:pt x="67832" y="117443"/>
                    <a:pt x="67832" y="84106"/>
                  </a:cubicBezTo>
                  <a:lnTo>
                    <a:pt x="67832" y="63056"/>
                  </a:lnTo>
                  <a:cubicBezTo>
                    <a:pt x="67832" y="29813"/>
                    <a:pt x="40590" y="2572"/>
                    <a:pt x="7348" y="2572"/>
                  </a:cubicBezTo>
                  <a:cubicBezTo>
                    <a:pt x="-18370" y="2572"/>
                    <a:pt x="26302" y="2286"/>
                    <a:pt x="96502" y="1905"/>
                  </a:cubicBezTo>
                  <a:lnTo>
                    <a:pt x="96502" y="0"/>
                  </a:lnTo>
                  <a:lnTo>
                    <a:pt x="465691" y="0"/>
                  </a:lnTo>
                  <a:lnTo>
                    <a:pt x="676764" y="0"/>
                  </a:lnTo>
                  <a:lnTo>
                    <a:pt x="676764" y="63056"/>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3" name="Freeform: Shape 172">
              <a:extLst>
                <a:ext uri="{FF2B5EF4-FFF2-40B4-BE49-F238E27FC236}">
                  <a16:creationId xmlns:a16="http://schemas.microsoft.com/office/drawing/2014/main" id="{5BDA4D17-B2AC-48E6-ADE4-0905618EB51A}"/>
                </a:ext>
              </a:extLst>
            </p:cNvPr>
            <p:cNvSpPr/>
            <p:nvPr/>
          </p:nvSpPr>
          <p:spPr>
            <a:xfrm>
              <a:off x="4480672" y="2223214"/>
              <a:ext cx="495776" cy="136207"/>
            </a:xfrm>
            <a:custGeom>
              <a:avLst/>
              <a:gdLst>
                <a:gd name="connsiteX0" fmla="*/ 495776 w 495776"/>
                <a:gd name="connsiteY0" fmla="*/ 136208 h 136207"/>
                <a:gd name="connsiteX1" fmla="*/ 495776 w 495776"/>
                <a:gd name="connsiteY1" fmla="*/ 60484 h 136207"/>
                <a:gd name="connsiteX2" fmla="*/ 435292 w 495776"/>
                <a:gd name="connsiteY2" fmla="*/ 0 h 136207"/>
                <a:gd name="connsiteX3" fmla="*/ 89630 w 495776"/>
                <a:gd name="connsiteY3" fmla="*/ 0 h 136207"/>
                <a:gd name="connsiteX4" fmla="*/ 29146 w 495776"/>
                <a:gd name="connsiteY4" fmla="*/ 60484 h 136207"/>
                <a:gd name="connsiteX5" fmla="*/ 29146 w 495776"/>
                <a:gd name="connsiteY5" fmla="*/ 73914 h 136207"/>
                <a:gd name="connsiteX6" fmla="*/ 0 w 495776"/>
                <a:gd name="connsiteY6" fmla="*/ 136208 h 136207"/>
                <a:gd name="connsiteX7" fmla="*/ 495776 w 495776"/>
                <a:gd name="connsiteY7" fmla="*/ 136208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776" h="136207">
                  <a:moveTo>
                    <a:pt x="495776" y="136208"/>
                  </a:moveTo>
                  <a:lnTo>
                    <a:pt x="495776" y="60484"/>
                  </a:lnTo>
                  <a:cubicBezTo>
                    <a:pt x="495776" y="27242"/>
                    <a:pt x="468534" y="0"/>
                    <a:pt x="435292" y="0"/>
                  </a:cubicBezTo>
                  <a:lnTo>
                    <a:pt x="89630" y="0"/>
                  </a:lnTo>
                  <a:cubicBezTo>
                    <a:pt x="56388" y="0"/>
                    <a:pt x="29146" y="27242"/>
                    <a:pt x="29146" y="60484"/>
                  </a:cubicBezTo>
                  <a:lnTo>
                    <a:pt x="29146" y="73914"/>
                  </a:lnTo>
                  <a:cubicBezTo>
                    <a:pt x="29146" y="98870"/>
                    <a:pt x="17907" y="121253"/>
                    <a:pt x="0" y="136208"/>
                  </a:cubicBezTo>
                  <a:lnTo>
                    <a:pt x="495776" y="136208"/>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4" name="Freeform: Shape 173">
              <a:extLst>
                <a:ext uri="{FF2B5EF4-FFF2-40B4-BE49-F238E27FC236}">
                  <a16:creationId xmlns:a16="http://schemas.microsoft.com/office/drawing/2014/main" id="{E1943416-4C7E-481A-8D67-5886E7EE0068}"/>
                </a:ext>
              </a:extLst>
            </p:cNvPr>
            <p:cNvSpPr/>
            <p:nvPr/>
          </p:nvSpPr>
          <p:spPr>
            <a:xfrm>
              <a:off x="3380820" y="2942637"/>
              <a:ext cx="1117568" cy="468344"/>
            </a:xfrm>
            <a:custGeom>
              <a:avLst/>
              <a:gdLst>
                <a:gd name="connsiteX0" fmla="*/ 1117568 w 1117568"/>
                <a:gd name="connsiteY0" fmla="*/ 208883 h 468344"/>
                <a:gd name="connsiteX1" fmla="*/ 1117568 w 1117568"/>
                <a:gd name="connsiteY1" fmla="*/ 303943 h 468344"/>
                <a:gd name="connsiteX2" fmla="*/ 1047559 w 1117568"/>
                <a:gd name="connsiteY2" fmla="*/ 303276 h 468344"/>
                <a:gd name="connsiteX3" fmla="*/ 1041273 w 1117568"/>
                <a:gd name="connsiteY3" fmla="*/ 303276 h 468344"/>
                <a:gd name="connsiteX4" fmla="*/ 960310 w 1117568"/>
                <a:gd name="connsiteY4" fmla="*/ 384238 h 468344"/>
                <a:gd name="connsiteX5" fmla="*/ 960310 w 1117568"/>
                <a:gd name="connsiteY5" fmla="*/ 398335 h 468344"/>
                <a:gd name="connsiteX6" fmla="*/ 890302 w 1117568"/>
                <a:gd name="connsiteY6" fmla="*/ 468344 h 468344"/>
                <a:gd name="connsiteX7" fmla="*/ 323088 w 1117568"/>
                <a:gd name="connsiteY7" fmla="*/ 468344 h 468344"/>
                <a:gd name="connsiteX8" fmla="*/ 322421 w 1117568"/>
                <a:gd name="connsiteY8" fmla="*/ 398335 h 468344"/>
                <a:gd name="connsiteX9" fmla="*/ 322421 w 1117568"/>
                <a:gd name="connsiteY9" fmla="*/ 384238 h 468344"/>
                <a:gd name="connsiteX10" fmla="*/ 241459 w 1117568"/>
                <a:gd name="connsiteY10" fmla="*/ 303276 h 468344"/>
                <a:gd name="connsiteX11" fmla="*/ 224695 w 1117568"/>
                <a:gd name="connsiteY11" fmla="*/ 303276 h 468344"/>
                <a:gd name="connsiteX12" fmla="*/ 154876 w 1117568"/>
                <a:gd name="connsiteY12" fmla="*/ 238887 h 468344"/>
                <a:gd name="connsiteX13" fmla="*/ 74104 w 1117568"/>
                <a:gd name="connsiteY13" fmla="*/ 164401 h 468344"/>
                <a:gd name="connsiteX14" fmla="*/ 70009 w 1117568"/>
                <a:gd name="connsiteY14" fmla="*/ 164401 h 468344"/>
                <a:gd name="connsiteX15" fmla="*/ 0 w 1117568"/>
                <a:gd name="connsiteY15" fmla="*/ 94393 h 468344"/>
                <a:gd name="connsiteX16" fmla="*/ 0 w 1117568"/>
                <a:gd name="connsiteY16" fmla="*/ 70009 h 468344"/>
                <a:gd name="connsiteX17" fmla="*/ 70009 w 1117568"/>
                <a:gd name="connsiteY17" fmla="*/ 0 h 468344"/>
                <a:gd name="connsiteX18" fmla="*/ 403003 w 1117568"/>
                <a:gd name="connsiteY18" fmla="*/ 0 h 468344"/>
                <a:gd name="connsiteX19" fmla="*/ 452533 w 1117568"/>
                <a:gd name="connsiteY19" fmla="*/ 0 h 468344"/>
                <a:gd name="connsiteX20" fmla="*/ 567880 w 1117568"/>
                <a:gd name="connsiteY20" fmla="*/ 0 h 468344"/>
                <a:gd name="connsiteX21" fmla="*/ 637699 w 1117568"/>
                <a:gd name="connsiteY21" fmla="*/ 64389 h 468344"/>
                <a:gd name="connsiteX22" fmla="*/ 718471 w 1117568"/>
                <a:gd name="connsiteY22" fmla="*/ 138874 h 468344"/>
                <a:gd name="connsiteX23" fmla="*/ 1047655 w 1117568"/>
                <a:gd name="connsiteY23" fmla="*/ 138874 h 468344"/>
                <a:gd name="connsiteX24" fmla="*/ 1117568 w 1117568"/>
                <a:gd name="connsiteY24" fmla="*/ 208883 h 46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17568" h="468344">
                  <a:moveTo>
                    <a:pt x="1117568" y="208883"/>
                  </a:moveTo>
                  <a:lnTo>
                    <a:pt x="1117568" y="303943"/>
                  </a:lnTo>
                  <a:lnTo>
                    <a:pt x="1047559" y="303276"/>
                  </a:lnTo>
                  <a:lnTo>
                    <a:pt x="1041273" y="303276"/>
                  </a:lnTo>
                  <a:cubicBezTo>
                    <a:pt x="996696" y="303276"/>
                    <a:pt x="960310" y="339662"/>
                    <a:pt x="960310" y="384238"/>
                  </a:cubicBezTo>
                  <a:lnTo>
                    <a:pt x="960310" y="398335"/>
                  </a:lnTo>
                  <a:cubicBezTo>
                    <a:pt x="960310" y="436816"/>
                    <a:pt x="928783" y="468344"/>
                    <a:pt x="890302" y="468344"/>
                  </a:cubicBezTo>
                  <a:lnTo>
                    <a:pt x="323088" y="468344"/>
                  </a:lnTo>
                  <a:lnTo>
                    <a:pt x="322421" y="398335"/>
                  </a:lnTo>
                  <a:lnTo>
                    <a:pt x="322421" y="384238"/>
                  </a:lnTo>
                  <a:cubicBezTo>
                    <a:pt x="322421" y="339662"/>
                    <a:pt x="286036" y="303276"/>
                    <a:pt x="241459" y="303276"/>
                  </a:cubicBezTo>
                  <a:lnTo>
                    <a:pt x="224695" y="303276"/>
                  </a:lnTo>
                  <a:cubicBezTo>
                    <a:pt x="188023" y="303276"/>
                    <a:pt x="157734" y="274796"/>
                    <a:pt x="154876" y="238887"/>
                  </a:cubicBezTo>
                  <a:cubicBezTo>
                    <a:pt x="151447" y="196691"/>
                    <a:pt x="116491" y="164401"/>
                    <a:pt x="74104" y="164401"/>
                  </a:cubicBezTo>
                  <a:lnTo>
                    <a:pt x="70009" y="164401"/>
                  </a:lnTo>
                  <a:cubicBezTo>
                    <a:pt x="31528" y="164401"/>
                    <a:pt x="0" y="132874"/>
                    <a:pt x="0" y="94393"/>
                  </a:cubicBezTo>
                  <a:lnTo>
                    <a:pt x="0" y="70009"/>
                  </a:lnTo>
                  <a:cubicBezTo>
                    <a:pt x="0" y="31528"/>
                    <a:pt x="31528" y="0"/>
                    <a:pt x="70009" y="0"/>
                  </a:cubicBezTo>
                  <a:lnTo>
                    <a:pt x="403003" y="0"/>
                  </a:lnTo>
                  <a:lnTo>
                    <a:pt x="452533" y="0"/>
                  </a:lnTo>
                  <a:lnTo>
                    <a:pt x="567880" y="0"/>
                  </a:lnTo>
                  <a:cubicBezTo>
                    <a:pt x="604456" y="0"/>
                    <a:pt x="634841" y="28480"/>
                    <a:pt x="637699" y="64389"/>
                  </a:cubicBezTo>
                  <a:cubicBezTo>
                    <a:pt x="641128" y="106585"/>
                    <a:pt x="676084" y="138874"/>
                    <a:pt x="718471" y="138874"/>
                  </a:cubicBezTo>
                  <a:lnTo>
                    <a:pt x="1047655" y="138874"/>
                  </a:lnTo>
                  <a:cubicBezTo>
                    <a:pt x="1086040" y="138874"/>
                    <a:pt x="1117568" y="170402"/>
                    <a:pt x="1117568" y="208883"/>
                  </a:cubicBez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5" name="Freeform: Shape 174">
              <a:extLst>
                <a:ext uri="{FF2B5EF4-FFF2-40B4-BE49-F238E27FC236}">
                  <a16:creationId xmlns:a16="http://schemas.microsoft.com/office/drawing/2014/main" id="{7B262B4E-CCF8-48FB-BAC8-633C35083B45}"/>
                </a:ext>
              </a:extLst>
            </p:cNvPr>
            <p:cNvSpPr/>
            <p:nvPr/>
          </p:nvSpPr>
          <p:spPr>
            <a:xfrm>
              <a:off x="4183110" y="3246961"/>
              <a:ext cx="781336" cy="280130"/>
            </a:xfrm>
            <a:custGeom>
              <a:avLst/>
              <a:gdLst>
                <a:gd name="connsiteX0" fmla="*/ 0 w 781336"/>
                <a:gd name="connsiteY0" fmla="*/ 164116 h 280130"/>
                <a:gd name="connsiteX1" fmla="*/ 0 w 781336"/>
                <a:gd name="connsiteY1" fmla="*/ 280130 h 280130"/>
                <a:gd name="connsiteX2" fmla="*/ 241363 w 781336"/>
                <a:gd name="connsiteY2" fmla="*/ 280130 h 280130"/>
                <a:gd name="connsiteX3" fmla="*/ 290894 w 781336"/>
                <a:gd name="connsiteY3" fmla="*/ 280130 h 280130"/>
                <a:gd name="connsiteX4" fmla="*/ 406241 w 781336"/>
                <a:gd name="connsiteY4" fmla="*/ 280130 h 280130"/>
                <a:gd name="connsiteX5" fmla="*/ 476060 w 781336"/>
                <a:gd name="connsiteY5" fmla="*/ 215741 h 280130"/>
                <a:gd name="connsiteX6" fmla="*/ 556832 w 781336"/>
                <a:gd name="connsiteY6" fmla="*/ 141256 h 280130"/>
                <a:gd name="connsiteX7" fmla="*/ 781336 w 781336"/>
                <a:gd name="connsiteY7" fmla="*/ 141256 h 280130"/>
                <a:gd name="connsiteX8" fmla="*/ 781336 w 781336"/>
                <a:gd name="connsiteY8" fmla="*/ 1524 h 280130"/>
                <a:gd name="connsiteX9" fmla="*/ 530162 w 781336"/>
                <a:gd name="connsiteY9" fmla="*/ 1524 h 280130"/>
                <a:gd name="connsiteX10" fmla="*/ 223647 w 781336"/>
                <a:gd name="connsiteY10" fmla="*/ 0 h 280130"/>
                <a:gd name="connsiteX11" fmla="*/ 157925 w 781336"/>
                <a:gd name="connsiteY11" fmla="*/ 80010 h 280130"/>
                <a:gd name="connsiteX12" fmla="*/ 157925 w 781336"/>
                <a:gd name="connsiteY12" fmla="*/ 94107 h 280130"/>
                <a:gd name="connsiteX13" fmla="*/ 87916 w 781336"/>
                <a:gd name="connsiteY13" fmla="*/ 164116 h 280130"/>
                <a:gd name="connsiteX14" fmla="*/ 0 w 781336"/>
                <a:gd name="connsiteY14" fmla="*/ 164116 h 280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1336" h="280130">
                  <a:moveTo>
                    <a:pt x="0" y="164116"/>
                  </a:moveTo>
                  <a:lnTo>
                    <a:pt x="0" y="280130"/>
                  </a:lnTo>
                  <a:lnTo>
                    <a:pt x="241363" y="280130"/>
                  </a:lnTo>
                  <a:lnTo>
                    <a:pt x="290894" y="280130"/>
                  </a:lnTo>
                  <a:lnTo>
                    <a:pt x="406241" y="280130"/>
                  </a:lnTo>
                  <a:cubicBezTo>
                    <a:pt x="442817" y="280130"/>
                    <a:pt x="473202" y="251651"/>
                    <a:pt x="476060" y="215741"/>
                  </a:cubicBezTo>
                  <a:cubicBezTo>
                    <a:pt x="479488" y="173546"/>
                    <a:pt x="514445" y="141256"/>
                    <a:pt x="556832" y="141256"/>
                  </a:cubicBezTo>
                  <a:lnTo>
                    <a:pt x="781336" y="141256"/>
                  </a:lnTo>
                  <a:lnTo>
                    <a:pt x="781336" y="1524"/>
                  </a:lnTo>
                  <a:lnTo>
                    <a:pt x="530162" y="1524"/>
                  </a:lnTo>
                  <a:lnTo>
                    <a:pt x="223647" y="0"/>
                  </a:lnTo>
                  <a:cubicBezTo>
                    <a:pt x="188500" y="8858"/>
                    <a:pt x="157925" y="42196"/>
                    <a:pt x="157925" y="80010"/>
                  </a:cubicBezTo>
                  <a:lnTo>
                    <a:pt x="157925" y="94107"/>
                  </a:lnTo>
                  <a:cubicBezTo>
                    <a:pt x="157925" y="132588"/>
                    <a:pt x="126397" y="164116"/>
                    <a:pt x="87916" y="164116"/>
                  </a:cubicBezTo>
                  <a:lnTo>
                    <a:pt x="0" y="164116"/>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6" name="Freeform: Shape 175">
              <a:extLst>
                <a:ext uri="{FF2B5EF4-FFF2-40B4-BE49-F238E27FC236}">
                  <a16:creationId xmlns:a16="http://schemas.microsoft.com/office/drawing/2014/main" id="{05145005-D286-4846-8652-53F5150847B3}"/>
                </a:ext>
              </a:extLst>
            </p:cNvPr>
            <p:cNvSpPr/>
            <p:nvPr/>
          </p:nvSpPr>
          <p:spPr>
            <a:xfrm>
              <a:off x="3700479" y="2359612"/>
              <a:ext cx="1578101" cy="888872"/>
            </a:xfrm>
            <a:custGeom>
              <a:avLst/>
              <a:gdLst>
                <a:gd name="connsiteX0" fmla="*/ 1423702 w 1578101"/>
                <a:gd name="connsiteY0" fmla="*/ 828389 h 888872"/>
                <a:gd name="connsiteX1" fmla="*/ 1363218 w 1578101"/>
                <a:gd name="connsiteY1" fmla="*/ 888873 h 888872"/>
                <a:gd name="connsiteX2" fmla="*/ 1012793 w 1578101"/>
                <a:gd name="connsiteY2" fmla="*/ 888873 h 888872"/>
                <a:gd name="connsiteX3" fmla="*/ 797909 w 1578101"/>
                <a:gd name="connsiteY3" fmla="*/ 887063 h 888872"/>
                <a:gd name="connsiteX4" fmla="*/ 797909 w 1578101"/>
                <a:gd name="connsiteY4" fmla="*/ 792004 h 888872"/>
                <a:gd name="connsiteX5" fmla="*/ 727900 w 1578101"/>
                <a:gd name="connsiteY5" fmla="*/ 721995 h 888872"/>
                <a:gd name="connsiteX6" fmla="*/ 398716 w 1578101"/>
                <a:gd name="connsiteY6" fmla="*/ 721995 h 888872"/>
                <a:gd name="connsiteX7" fmla="*/ 317945 w 1578101"/>
                <a:gd name="connsiteY7" fmla="*/ 647509 h 888872"/>
                <a:gd name="connsiteX8" fmla="*/ 248126 w 1578101"/>
                <a:gd name="connsiteY8" fmla="*/ 583120 h 888872"/>
                <a:gd name="connsiteX9" fmla="*/ 132683 w 1578101"/>
                <a:gd name="connsiteY9" fmla="*/ 583120 h 888872"/>
                <a:gd name="connsiteX10" fmla="*/ 83153 w 1578101"/>
                <a:gd name="connsiteY10" fmla="*/ 583120 h 888872"/>
                <a:gd name="connsiteX11" fmla="*/ 0 w 1578101"/>
                <a:gd name="connsiteY11" fmla="*/ 583120 h 888872"/>
                <a:gd name="connsiteX12" fmla="*/ 0 w 1578101"/>
                <a:gd name="connsiteY12" fmla="*/ 60484 h 888872"/>
                <a:gd name="connsiteX13" fmla="*/ 60484 w 1578101"/>
                <a:gd name="connsiteY13" fmla="*/ 0 h 888872"/>
                <a:gd name="connsiteX14" fmla="*/ 1420939 w 1578101"/>
                <a:gd name="connsiteY14" fmla="*/ 0 h 888872"/>
                <a:gd name="connsiteX15" fmla="*/ 1420939 w 1578101"/>
                <a:gd name="connsiteY15" fmla="*/ 338328 h 888872"/>
                <a:gd name="connsiteX16" fmla="*/ 1420939 w 1578101"/>
                <a:gd name="connsiteY16" fmla="*/ 390716 h 888872"/>
                <a:gd name="connsiteX17" fmla="*/ 1481423 w 1578101"/>
                <a:gd name="connsiteY17" fmla="*/ 451199 h 888872"/>
                <a:gd name="connsiteX18" fmla="*/ 1575721 w 1578101"/>
                <a:gd name="connsiteY18" fmla="*/ 451199 h 888872"/>
                <a:gd name="connsiteX19" fmla="*/ 1578102 w 1578101"/>
                <a:gd name="connsiteY19" fmla="*/ 729996 h 888872"/>
                <a:gd name="connsiteX20" fmla="*/ 1496282 w 1578101"/>
                <a:gd name="connsiteY20" fmla="*/ 729996 h 888872"/>
                <a:gd name="connsiteX21" fmla="*/ 1423797 w 1578101"/>
                <a:gd name="connsiteY21" fmla="*/ 797624 h 888872"/>
                <a:gd name="connsiteX22" fmla="*/ 1423702 w 1578101"/>
                <a:gd name="connsiteY22" fmla="*/ 828389 h 88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8101" h="888872">
                  <a:moveTo>
                    <a:pt x="1423702" y="828389"/>
                  </a:moveTo>
                  <a:cubicBezTo>
                    <a:pt x="1423511" y="861632"/>
                    <a:pt x="1396460" y="888873"/>
                    <a:pt x="1363218" y="888873"/>
                  </a:cubicBezTo>
                  <a:lnTo>
                    <a:pt x="1012793" y="888873"/>
                  </a:lnTo>
                  <a:lnTo>
                    <a:pt x="797909" y="887063"/>
                  </a:lnTo>
                  <a:lnTo>
                    <a:pt x="797909" y="792004"/>
                  </a:lnTo>
                  <a:cubicBezTo>
                    <a:pt x="797909" y="753523"/>
                    <a:pt x="766381" y="721995"/>
                    <a:pt x="727900" y="721995"/>
                  </a:cubicBezTo>
                  <a:lnTo>
                    <a:pt x="398716" y="721995"/>
                  </a:lnTo>
                  <a:cubicBezTo>
                    <a:pt x="356425" y="721995"/>
                    <a:pt x="321373" y="689705"/>
                    <a:pt x="317945" y="647509"/>
                  </a:cubicBezTo>
                  <a:cubicBezTo>
                    <a:pt x="315087" y="611600"/>
                    <a:pt x="284797" y="583120"/>
                    <a:pt x="248126" y="583120"/>
                  </a:cubicBezTo>
                  <a:lnTo>
                    <a:pt x="132683" y="583120"/>
                  </a:lnTo>
                  <a:lnTo>
                    <a:pt x="83153" y="583120"/>
                  </a:lnTo>
                  <a:lnTo>
                    <a:pt x="0" y="583120"/>
                  </a:lnTo>
                  <a:lnTo>
                    <a:pt x="0" y="60484"/>
                  </a:lnTo>
                  <a:cubicBezTo>
                    <a:pt x="0" y="27242"/>
                    <a:pt x="27241" y="0"/>
                    <a:pt x="60484" y="0"/>
                  </a:cubicBezTo>
                  <a:lnTo>
                    <a:pt x="1420939" y="0"/>
                  </a:lnTo>
                  <a:lnTo>
                    <a:pt x="1420939" y="338328"/>
                  </a:lnTo>
                  <a:lnTo>
                    <a:pt x="1420939" y="390716"/>
                  </a:lnTo>
                  <a:cubicBezTo>
                    <a:pt x="1420939" y="423958"/>
                    <a:pt x="1448181" y="451199"/>
                    <a:pt x="1481423" y="451199"/>
                  </a:cubicBezTo>
                  <a:lnTo>
                    <a:pt x="1575721" y="451199"/>
                  </a:lnTo>
                  <a:lnTo>
                    <a:pt x="1578102" y="729996"/>
                  </a:lnTo>
                  <a:lnTo>
                    <a:pt x="1496282" y="729996"/>
                  </a:lnTo>
                  <a:cubicBezTo>
                    <a:pt x="1457801" y="729996"/>
                    <a:pt x="1423988" y="759047"/>
                    <a:pt x="1423797" y="797624"/>
                  </a:cubicBezTo>
                  <a:lnTo>
                    <a:pt x="1423702" y="828389"/>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7" name="Freeform: Shape 176">
              <a:extLst>
                <a:ext uri="{FF2B5EF4-FFF2-40B4-BE49-F238E27FC236}">
                  <a16:creationId xmlns:a16="http://schemas.microsoft.com/office/drawing/2014/main" id="{BBE050C0-428D-4917-B6FA-0476A9EBEB9E}"/>
                </a:ext>
              </a:extLst>
            </p:cNvPr>
            <p:cNvSpPr/>
            <p:nvPr/>
          </p:nvSpPr>
          <p:spPr>
            <a:xfrm>
              <a:off x="2589388" y="2358278"/>
              <a:ext cx="1112234" cy="1175003"/>
            </a:xfrm>
            <a:custGeom>
              <a:avLst/>
              <a:gdLst>
                <a:gd name="connsiteX0" fmla="*/ 162115 w 1112234"/>
                <a:gd name="connsiteY0" fmla="*/ 371475 h 1175003"/>
                <a:gd name="connsiteX1" fmla="*/ 162115 w 1112234"/>
                <a:gd name="connsiteY1" fmla="*/ 164402 h 1175003"/>
                <a:gd name="connsiteX2" fmla="*/ 219837 w 1112234"/>
                <a:gd name="connsiteY2" fmla="*/ 164116 h 1175003"/>
                <a:gd name="connsiteX3" fmla="*/ 246412 w 1112234"/>
                <a:gd name="connsiteY3" fmla="*/ 164116 h 1175003"/>
                <a:gd name="connsiteX4" fmla="*/ 322802 w 1112234"/>
                <a:gd name="connsiteY4" fmla="*/ 87725 h 1175003"/>
                <a:gd name="connsiteX5" fmla="*/ 322802 w 1112234"/>
                <a:gd name="connsiteY5" fmla="*/ 69723 h 1175003"/>
                <a:gd name="connsiteX6" fmla="*/ 279844 w 1112234"/>
                <a:gd name="connsiteY6" fmla="*/ 1143 h 1175003"/>
                <a:gd name="connsiteX7" fmla="*/ 876872 w 1112234"/>
                <a:gd name="connsiteY7" fmla="*/ 0 h 1175003"/>
                <a:gd name="connsiteX8" fmla="*/ 948309 w 1112234"/>
                <a:gd name="connsiteY8" fmla="*/ 69723 h 1175003"/>
                <a:gd name="connsiteX9" fmla="*/ 948309 w 1112234"/>
                <a:gd name="connsiteY9" fmla="*/ 87725 h 1175003"/>
                <a:gd name="connsiteX10" fmla="*/ 1024699 w 1112234"/>
                <a:gd name="connsiteY10" fmla="*/ 164116 h 1175003"/>
                <a:gd name="connsiteX11" fmla="*/ 1051274 w 1112234"/>
                <a:gd name="connsiteY11" fmla="*/ 164116 h 1175003"/>
                <a:gd name="connsiteX12" fmla="*/ 1112234 w 1112234"/>
                <a:gd name="connsiteY12" fmla="*/ 133636 h 1175003"/>
                <a:gd name="connsiteX13" fmla="*/ 1112234 w 1112234"/>
                <a:gd name="connsiteY13" fmla="*/ 584263 h 1175003"/>
                <a:gd name="connsiteX14" fmla="*/ 861346 w 1112234"/>
                <a:gd name="connsiteY14" fmla="*/ 584263 h 1175003"/>
                <a:gd name="connsiteX15" fmla="*/ 791337 w 1112234"/>
                <a:gd name="connsiteY15" fmla="*/ 654272 h 1175003"/>
                <a:gd name="connsiteX16" fmla="*/ 791337 w 1112234"/>
                <a:gd name="connsiteY16" fmla="*/ 678656 h 1175003"/>
                <a:gd name="connsiteX17" fmla="*/ 861346 w 1112234"/>
                <a:gd name="connsiteY17" fmla="*/ 748665 h 1175003"/>
                <a:gd name="connsiteX18" fmla="*/ 865441 w 1112234"/>
                <a:gd name="connsiteY18" fmla="*/ 748665 h 1175003"/>
                <a:gd name="connsiteX19" fmla="*/ 946213 w 1112234"/>
                <a:gd name="connsiteY19" fmla="*/ 823150 h 1175003"/>
                <a:gd name="connsiteX20" fmla="*/ 1016032 w 1112234"/>
                <a:gd name="connsiteY20" fmla="*/ 887539 h 1175003"/>
                <a:gd name="connsiteX21" fmla="*/ 1032796 w 1112234"/>
                <a:gd name="connsiteY21" fmla="*/ 887539 h 1175003"/>
                <a:gd name="connsiteX22" fmla="*/ 1112234 w 1112234"/>
                <a:gd name="connsiteY22" fmla="*/ 952786 h 1175003"/>
                <a:gd name="connsiteX23" fmla="*/ 1112234 w 1112234"/>
                <a:gd name="connsiteY23" fmla="*/ 1103948 h 1175003"/>
                <a:gd name="connsiteX24" fmla="*/ 1042225 w 1112234"/>
                <a:gd name="connsiteY24" fmla="*/ 1173956 h 1175003"/>
                <a:gd name="connsiteX25" fmla="*/ 743236 w 1112234"/>
                <a:gd name="connsiteY25" fmla="*/ 1173956 h 1175003"/>
                <a:gd name="connsiteX26" fmla="*/ 735330 w 1112234"/>
                <a:gd name="connsiteY26" fmla="*/ 1174337 h 1175003"/>
                <a:gd name="connsiteX27" fmla="*/ 720757 w 1112234"/>
                <a:gd name="connsiteY27" fmla="*/ 1175004 h 1175003"/>
                <a:gd name="connsiteX28" fmla="*/ 162782 w 1112234"/>
                <a:gd name="connsiteY28" fmla="*/ 1175004 h 1175003"/>
                <a:gd name="connsiteX29" fmla="*/ 162782 w 1112234"/>
                <a:gd name="connsiteY29" fmla="*/ 1111853 h 1175003"/>
                <a:gd name="connsiteX30" fmla="*/ 81820 w 1112234"/>
                <a:gd name="connsiteY30" fmla="*/ 1030891 h 1175003"/>
                <a:gd name="connsiteX31" fmla="*/ 70009 w 1112234"/>
                <a:gd name="connsiteY31" fmla="*/ 1030891 h 1175003"/>
                <a:gd name="connsiteX32" fmla="*/ 0 w 1112234"/>
                <a:gd name="connsiteY32" fmla="*/ 960882 h 1175003"/>
                <a:gd name="connsiteX33" fmla="*/ 0 w 1112234"/>
                <a:gd name="connsiteY33" fmla="*/ 522446 h 1175003"/>
                <a:gd name="connsiteX34" fmla="*/ 70009 w 1112234"/>
                <a:gd name="connsiteY34" fmla="*/ 452438 h 1175003"/>
                <a:gd name="connsiteX35" fmla="*/ 81153 w 1112234"/>
                <a:gd name="connsiteY35" fmla="*/ 452438 h 1175003"/>
                <a:gd name="connsiteX36" fmla="*/ 162115 w 1112234"/>
                <a:gd name="connsiteY36" fmla="*/ 371475 h 1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12234" h="1175003">
                  <a:moveTo>
                    <a:pt x="162115" y="371475"/>
                  </a:moveTo>
                  <a:lnTo>
                    <a:pt x="162115" y="164402"/>
                  </a:lnTo>
                  <a:lnTo>
                    <a:pt x="219837" y="164116"/>
                  </a:lnTo>
                  <a:lnTo>
                    <a:pt x="246412" y="164116"/>
                  </a:lnTo>
                  <a:cubicBezTo>
                    <a:pt x="288417" y="164116"/>
                    <a:pt x="322802" y="129730"/>
                    <a:pt x="322802" y="87725"/>
                  </a:cubicBezTo>
                  <a:lnTo>
                    <a:pt x="322802" y="69723"/>
                  </a:lnTo>
                  <a:cubicBezTo>
                    <a:pt x="322802" y="39719"/>
                    <a:pt x="305181" y="13621"/>
                    <a:pt x="279844" y="1143"/>
                  </a:cubicBezTo>
                  <a:cubicBezTo>
                    <a:pt x="462439" y="1143"/>
                    <a:pt x="695897" y="0"/>
                    <a:pt x="876872" y="0"/>
                  </a:cubicBezTo>
                  <a:cubicBezTo>
                    <a:pt x="939736" y="1524"/>
                    <a:pt x="948309" y="38767"/>
                    <a:pt x="948309" y="69723"/>
                  </a:cubicBezTo>
                  <a:lnTo>
                    <a:pt x="948309" y="87725"/>
                  </a:lnTo>
                  <a:cubicBezTo>
                    <a:pt x="948309" y="129730"/>
                    <a:pt x="982694" y="164116"/>
                    <a:pt x="1024699" y="164116"/>
                  </a:cubicBezTo>
                  <a:lnTo>
                    <a:pt x="1051274" y="164116"/>
                  </a:lnTo>
                  <a:cubicBezTo>
                    <a:pt x="1076134" y="164116"/>
                    <a:pt x="1098232" y="152114"/>
                    <a:pt x="1112234" y="133636"/>
                  </a:cubicBezTo>
                  <a:lnTo>
                    <a:pt x="1112234" y="584263"/>
                  </a:lnTo>
                  <a:lnTo>
                    <a:pt x="861346" y="584263"/>
                  </a:lnTo>
                  <a:cubicBezTo>
                    <a:pt x="822865" y="584263"/>
                    <a:pt x="791337" y="615791"/>
                    <a:pt x="791337" y="654272"/>
                  </a:cubicBezTo>
                  <a:lnTo>
                    <a:pt x="791337" y="678656"/>
                  </a:lnTo>
                  <a:cubicBezTo>
                    <a:pt x="791337" y="717137"/>
                    <a:pt x="822865" y="748665"/>
                    <a:pt x="861346" y="748665"/>
                  </a:cubicBezTo>
                  <a:lnTo>
                    <a:pt x="865441" y="748665"/>
                  </a:lnTo>
                  <a:cubicBezTo>
                    <a:pt x="907828" y="748665"/>
                    <a:pt x="942784" y="780955"/>
                    <a:pt x="946213" y="823150"/>
                  </a:cubicBezTo>
                  <a:cubicBezTo>
                    <a:pt x="949071" y="859060"/>
                    <a:pt x="979360" y="887539"/>
                    <a:pt x="1016032" y="887539"/>
                  </a:cubicBezTo>
                  <a:lnTo>
                    <a:pt x="1032796" y="887539"/>
                  </a:lnTo>
                  <a:cubicBezTo>
                    <a:pt x="1072039" y="887539"/>
                    <a:pt x="1104900" y="915638"/>
                    <a:pt x="1112234" y="952786"/>
                  </a:cubicBezTo>
                  <a:lnTo>
                    <a:pt x="1112234" y="1103948"/>
                  </a:lnTo>
                  <a:cubicBezTo>
                    <a:pt x="1112234" y="1142429"/>
                    <a:pt x="1080706" y="1173956"/>
                    <a:pt x="1042225" y="1173956"/>
                  </a:cubicBezTo>
                  <a:lnTo>
                    <a:pt x="743236" y="1173956"/>
                  </a:lnTo>
                  <a:cubicBezTo>
                    <a:pt x="740473" y="1173956"/>
                    <a:pt x="738092" y="1174052"/>
                    <a:pt x="735330" y="1174337"/>
                  </a:cubicBezTo>
                  <a:cubicBezTo>
                    <a:pt x="730567" y="1174814"/>
                    <a:pt x="725710" y="1175004"/>
                    <a:pt x="720757" y="1175004"/>
                  </a:cubicBezTo>
                  <a:lnTo>
                    <a:pt x="162782" y="1175004"/>
                  </a:lnTo>
                  <a:lnTo>
                    <a:pt x="162782" y="1111853"/>
                  </a:lnTo>
                  <a:cubicBezTo>
                    <a:pt x="162782" y="1067276"/>
                    <a:pt x="126397" y="1030891"/>
                    <a:pt x="81820" y="1030891"/>
                  </a:cubicBezTo>
                  <a:lnTo>
                    <a:pt x="70009" y="1030891"/>
                  </a:lnTo>
                  <a:cubicBezTo>
                    <a:pt x="31528" y="1030891"/>
                    <a:pt x="0" y="999363"/>
                    <a:pt x="0" y="960882"/>
                  </a:cubicBezTo>
                  <a:lnTo>
                    <a:pt x="0" y="522446"/>
                  </a:lnTo>
                  <a:cubicBezTo>
                    <a:pt x="0" y="483965"/>
                    <a:pt x="31528" y="452438"/>
                    <a:pt x="70009" y="452438"/>
                  </a:cubicBezTo>
                  <a:lnTo>
                    <a:pt x="81153" y="452438"/>
                  </a:lnTo>
                  <a:cubicBezTo>
                    <a:pt x="125730" y="452438"/>
                    <a:pt x="162115" y="416052"/>
                    <a:pt x="162115" y="371475"/>
                  </a:cubicBez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8" name="Freeform: Shape 177">
              <a:extLst>
                <a:ext uri="{FF2B5EF4-FFF2-40B4-BE49-F238E27FC236}">
                  <a16:creationId xmlns:a16="http://schemas.microsoft.com/office/drawing/2014/main" id="{8B9E31CB-38FF-4E31-A160-19C27FDDEC9A}"/>
                </a:ext>
              </a:extLst>
            </p:cNvPr>
            <p:cNvSpPr/>
            <p:nvPr/>
          </p:nvSpPr>
          <p:spPr>
            <a:xfrm>
              <a:off x="2763124" y="1790874"/>
              <a:ext cx="304800" cy="536924"/>
            </a:xfrm>
            <a:custGeom>
              <a:avLst/>
              <a:gdLst>
                <a:gd name="connsiteX0" fmla="*/ 303657 w 304800"/>
                <a:gd name="connsiteY0" fmla="*/ 536639 h 536924"/>
                <a:gd name="connsiteX1" fmla="*/ 304800 w 304800"/>
                <a:gd name="connsiteY1" fmla="*/ 57626 h 536924"/>
                <a:gd name="connsiteX2" fmla="*/ 247174 w 304800"/>
                <a:gd name="connsiteY2" fmla="*/ 0 h 536924"/>
                <a:gd name="connsiteX3" fmla="*/ 227076 w 304800"/>
                <a:gd name="connsiteY3" fmla="*/ 0 h 536924"/>
                <a:gd name="connsiteX4" fmla="*/ 169450 w 304800"/>
                <a:gd name="connsiteY4" fmla="*/ 57626 h 536924"/>
                <a:gd name="connsiteX5" fmla="*/ 169450 w 304800"/>
                <a:gd name="connsiteY5" fmla="*/ 66866 h 536924"/>
                <a:gd name="connsiteX6" fmla="*/ 88487 w 304800"/>
                <a:gd name="connsiteY6" fmla="*/ 147828 h 536924"/>
                <a:gd name="connsiteX7" fmla="*/ 76390 w 304800"/>
                <a:gd name="connsiteY7" fmla="*/ 147828 h 536924"/>
                <a:gd name="connsiteX8" fmla="*/ 0 w 304800"/>
                <a:gd name="connsiteY8" fmla="*/ 224219 h 536924"/>
                <a:gd name="connsiteX9" fmla="*/ 0 w 304800"/>
                <a:gd name="connsiteY9" fmla="*/ 432340 h 536924"/>
                <a:gd name="connsiteX10" fmla="*/ 0 w 304800"/>
                <a:gd name="connsiteY10" fmla="*/ 434531 h 536924"/>
                <a:gd name="connsiteX11" fmla="*/ 0 w 304800"/>
                <a:gd name="connsiteY11" fmla="*/ 439579 h 536924"/>
                <a:gd name="connsiteX12" fmla="*/ 0 w 304800"/>
                <a:gd name="connsiteY12" fmla="*/ 441770 h 536924"/>
                <a:gd name="connsiteX13" fmla="*/ 0 w 304800"/>
                <a:gd name="connsiteY13" fmla="*/ 459772 h 536924"/>
                <a:gd name="connsiteX14" fmla="*/ 76390 w 304800"/>
                <a:gd name="connsiteY14" fmla="*/ 536162 h 536924"/>
                <a:gd name="connsiteX15" fmla="*/ 94107 w 304800"/>
                <a:gd name="connsiteY15" fmla="*/ 536162 h 536924"/>
                <a:gd name="connsiteX16" fmla="*/ 117824 w 304800"/>
                <a:gd name="connsiteY16" fmla="*/ 536924 h 536924"/>
                <a:gd name="connsiteX17" fmla="*/ 303657 w 304800"/>
                <a:gd name="connsiteY17" fmla="*/ 536639 h 53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536924">
                  <a:moveTo>
                    <a:pt x="303657" y="536639"/>
                  </a:moveTo>
                  <a:lnTo>
                    <a:pt x="304800" y="57626"/>
                  </a:lnTo>
                  <a:cubicBezTo>
                    <a:pt x="304800" y="25908"/>
                    <a:pt x="278892" y="0"/>
                    <a:pt x="247174" y="0"/>
                  </a:cubicBezTo>
                  <a:lnTo>
                    <a:pt x="227076" y="0"/>
                  </a:lnTo>
                  <a:cubicBezTo>
                    <a:pt x="195358" y="0"/>
                    <a:pt x="169450" y="25908"/>
                    <a:pt x="169450" y="57626"/>
                  </a:cubicBezTo>
                  <a:lnTo>
                    <a:pt x="169450" y="66866"/>
                  </a:lnTo>
                  <a:cubicBezTo>
                    <a:pt x="169450" y="111443"/>
                    <a:pt x="133064" y="147828"/>
                    <a:pt x="88487" y="147828"/>
                  </a:cubicBezTo>
                  <a:lnTo>
                    <a:pt x="76390" y="147828"/>
                  </a:lnTo>
                  <a:cubicBezTo>
                    <a:pt x="34385" y="147828"/>
                    <a:pt x="0" y="182213"/>
                    <a:pt x="0" y="224219"/>
                  </a:cubicBezTo>
                  <a:lnTo>
                    <a:pt x="0" y="432340"/>
                  </a:lnTo>
                  <a:cubicBezTo>
                    <a:pt x="0" y="433102"/>
                    <a:pt x="0" y="433864"/>
                    <a:pt x="0" y="434531"/>
                  </a:cubicBezTo>
                  <a:cubicBezTo>
                    <a:pt x="95" y="436340"/>
                    <a:pt x="95" y="437864"/>
                    <a:pt x="0" y="439579"/>
                  </a:cubicBezTo>
                  <a:cubicBezTo>
                    <a:pt x="0" y="440341"/>
                    <a:pt x="0" y="441008"/>
                    <a:pt x="0" y="441770"/>
                  </a:cubicBezTo>
                  <a:lnTo>
                    <a:pt x="0" y="459772"/>
                  </a:lnTo>
                  <a:cubicBezTo>
                    <a:pt x="0" y="501777"/>
                    <a:pt x="34385" y="536162"/>
                    <a:pt x="76390" y="536162"/>
                  </a:cubicBezTo>
                  <a:lnTo>
                    <a:pt x="94107" y="536162"/>
                  </a:lnTo>
                  <a:cubicBezTo>
                    <a:pt x="102775" y="536162"/>
                    <a:pt x="108871" y="536924"/>
                    <a:pt x="117824" y="536924"/>
                  </a:cubicBezTo>
                  <a:cubicBezTo>
                    <a:pt x="176022" y="536924"/>
                    <a:pt x="238982" y="536829"/>
                    <a:pt x="303657" y="536639"/>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9" name="Freeform: Shape 178">
              <a:extLst>
                <a:ext uri="{FF2B5EF4-FFF2-40B4-BE49-F238E27FC236}">
                  <a16:creationId xmlns:a16="http://schemas.microsoft.com/office/drawing/2014/main" id="{2104DE44-BFDE-4BFD-A680-43AF552CD7E0}"/>
                </a:ext>
              </a:extLst>
            </p:cNvPr>
            <p:cNvSpPr/>
            <p:nvPr/>
          </p:nvSpPr>
          <p:spPr>
            <a:xfrm>
              <a:off x="3109262" y="2015378"/>
              <a:ext cx="266318" cy="238580"/>
            </a:xfrm>
            <a:custGeom>
              <a:avLst/>
              <a:gdLst>
                <a:gd name="connsiteX0" fmla="*/ 208693 w 266318"/>
                <a:gd name="connsiteY0" fmla="*/ 71533 h 238580"/>
                <a:gd name="connsiteX1" fmla="*/ 188690 w 266318"/>
                <a:gd name="connsiteY1" fmla="*/ 71533 h 238580"/>
                <a:gd name="connsiteX2" fmla="*/ 183547 w 266318"/>
                <a:gd name="connsiteY2" fmla="*/ 71818 h 238580"/>
                <a:gd name="connsiteX3" fmla="*/ 183547 w 266318"/>
                <a:gd name="connsiteY3" fmla="*/ 15907 h 238580"/>
                <a:gd name="connsiteX4" fmla="*/ 148876 w 266318"/>
                <a:gd name="connsiteY4" fmla="*/ 286 h 238580"/>
                <a:gd name="connsiteX5" fmla="*/ 136779 w 266318"/>
                <a:gd name="connsiteY5" fmla="*/ 286 h 238580"/>
                <a:gd name="connsiteX6" fmla="*/ 46006 w 266318"/>
                <a:gd name="connsiteY6" fmla="*/ 0 h 238580"/>
                <a:gd name="connsiteX7" fmla="*/ 0 w 266318"/>
                <a:gd name="connsiteY7" fmla="*/ 46006 h 238580"/>
                <a:gd name="connsiteX8" fmla="*/ 0 w 266318"/>
                <a:gd name="connsiteY8" fmla="*/ 134969 h 238580"/>
                <a:gd name="connsiteX9" fmla="*/ 0 w 266318"/>
                <a:gd name="connsiteY9" fmla="*/ 174403 h 238580"/>
                <a:gd name="connsiteX10" fmla="*/ 0 w 266318"/>
                <a:gd name="connsiteY10" fmla="*/ 177451 h 238580"/>
                <a:gd name="connsiteX11" fmla="*/ 0 w 266318"/>
                <a:gd name="connsiteY11" fmla="*/ 178784 h 238580"/>
                <a:gd name="connsiteX12" fmla="*/ 0 w 266318"/>
                <a:gd name="connsiteY12" fmla="*/ 189643 h 238580"/>
                <a:gd name="connsiteX13" fmla="*/ 48768 w 266318"/>
                <a:gd name="connsiteY13" fmla="*/ 238411 h 238580"/>
                <a:gd name="connsiteX14" fmla="*/ 56674 w 266318"/>
                <a:gd name="connsiteY14" fmla="*/ 238411 h 238580"/>
                <a:gd name="connsiteX15" fmla="*/ 180213 w 266318"/>
                <a:gd name="connsiteY15" fmla="*/ 238411 h 238580"/>
                <a:gd name="connsiteX16" fmla="*/ 188690 w 266318"/>
                <a:gd name="connsiteY16" fmla="*/ 238411 h 238580"/>
                <a:gd name="connsiteX17" fmla="*/ 208693 w 266318"/>
                <a:gd name="connsiteY17" fmla="*/ 238411 h 238580"/>
                <a:gd name="connsiteX18" fmla="*/ 266319 w 266318"/>
                <a:gd name="connsiteY18" fmla="*/ 180784 h 238580"/>
                <a:gd name="connsiteX19" fmla="*/ 266319 w 266318"/>
                <a:gd name="connsiteY19" fmla="*/ 129159 h 238580"/>
                <a:gd name="connsiteX20" fmla="*/ 208693 w 266318"/>
                <a:gd name="connsiteY20" fmla="*/ 71533 h 2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318" h="238580">
                  <a:moveTo>
                    <a:pt x="208693" y="71533"/>
                  </a:moveTo>
                  <a:lnTo>
                    <a:pt x="188690" y="71533"/>
                  </a:lnTo>
                  <a:cubicBezTo>
                    <a:pt x="186976" y="71533"/>
                    <a:pt x="185261" y="71628"/>
                    <a:pt x="183547" y="71818"/>
                  </a:cubicBezTo>
                  <a:lnTo>
                    <a:pt x="183547" y="15907"/>
                  </a:lnTo>
                  <a:cubicBezTo>
                    <a:pt x="183547" y="-3143"/>
                    <a:pt x="167926" y="286"/>
                    <a:pt x="148876" y="286"/>
                  </a:cubicBezTo>
                  <a:lnTo>
                    <a:pt x="136779" y="286"/>
                  </a:lnTo>
                  <a:cubicBezTo>
                    <a:pt x="117729" y="286"/>
                    <a:pt x="46006" y="0"/>
                    <a:pt x="46006" y="0"/>
                  </a:cubicBezTo>
                  <a:cubicBezTo>
                    <a:pt x="20669" y="0"/>
                    <a:pt x="0" y="20669"/>
                    <a:pt x="0" y="46006"/>
                  </a:cubicBezTo>
                  <a:lnTo>
                    <a:pt x="0" y="134969"/>
                  </a:lnTo>
                  <a:cubicBezTo>
                    <a:pt x="0" y="135446"/>
                    <a:pt x="0" y="173926"/>
                    <a:pt x="0" y="174403"/>
                  </a:cubicBezTo>
                  <a:cubicBezTo>
                    <a:pt x="0" y="175450"/>
                    <a:pt x="0" y="176403"/>
                    <a:pt x="0" y="177451"/>
                  </a:cubicBezTo>
                  <a:cubicBezTo>
                    <a:pt x="0" y="177927"/>
                    <a:pt x="0" y="178308"/>
                    <a:pt x="0" y="178784"/>
                  </a:cubicBezTo>
                  <a:lnTo>
                    <a:pt x="0" y="189643"/>
                  </a:lnTo>
                  <a:cubicBezTo>
                    <a:pt x="0" y="216503"/>
                    <a:pt x="22003" y="238411"/>
                    <a:pt x="48768" y="238411"/>
                  </a:cubicBezTo>
                  <a:lnTo>
                    <a:pt x="56674" y="238411"/>
                  </a:lnTo>
                  <a:cubicBezTo>
                    <a:pt x="61913" y="238411"/>
                    <a:pt x="142494" y="238506"/>
                    <a:pt x="180213" y="238411"/>
                  </a:cubicBezTo>
                  <a:cubicBezTo>
                    <a:pt x="182975" y="238792"/>
                    <a:pt x="185833" y="238411"/>
                    <a:pt x="188690" y="238411"/>
                  </a:cubicBezTo>
                  <a:lnTo>
                    <a:pt x="208693" y="238411"/>
                  </a:lnTo>
                  <a:cubicBezTo>
                    <a:pt x="240411" y="238411"/>
                    <a:pt x="266319" y="212503"/>
                    <a:pt x="266319" y="180784"/>
                  </a:cubicBezTo>
                  <a:lnTo>
                    <a:pt x="266319" y="129159"/>
                  </a:lnTo>
                  <a:cubicBezTo>
                    <a:pt x="266319" y="97441"/>
                    <a:pt x="240411" y="71533"/>
                    <a:pt x="208693" y="71533"/>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0" name="Freeform: Shape 179">
              <a:extLst>
                <a:ext uri="{FF2B5EF4-FFF2-40B4-BE49-F238E27FC236}">
                  <a16:creationId xmlns:a16="http://schemas.microsoft.com/office/drawing/2014/main" id="{E9425343-BE95-4DEA-85AD-C655A6887FDE}"/>
                </a:ext>
              </a:extLst>
            </p:cNvPr>
            <p:cNvSpPr/>
            <p:nvPr/>
          </p:nvSpPr>
          <p:spPr>
            <a:xfrm>
              <a:off x="2926191" y="4271089"/>
              <a:ext cx="135255" cy="274415"/>
            </a:xfrm>
            <a:custGeom>
              <a:avLst/>
              <a:gdLst>
                <a:gd name="connsiteX0" fmla="*/ 57626 w 135255"/>
                <a:gd name="connsiteY0" fmla="*/ 274415 h 274415"/>
                <a:gd name="connsiteX1" fmla="*/ 77629 w 135255"/>
                <a:gd name="connsiteY1" fmla="*/ 274415 h 274415"/>
                <a:gd name="connsiteX2" fmla="*/ 135255 w 135255"/>
                <a:gd name="connsiteY2" fmla="*/ 216789 h 274415"/>
                <a:gd name="connsiteX3" fmla="*/ 135255 w 135255"/>
                <a:gd name="connsiteY3" fmla="*/ 57626 h 274415"/>
                <a:gd name="connsiteX4" fmla="*/ 77629 w 135255"/>
                <a:gd name="connsiteY4" fmla="*/ 0 h 274415"/>
                <a:gd name="connsiteX5" fmla="*/ 57626 w 135255"/>
                <a:gd name="connsiteY5" fmla="*/ 0 h 274415"/>
                <a:gd name="connsiteX6" fmla="*/ 0 w 135255"/>
                <a:gd name="connsiteY6" fmla="*/ 57626 h 274415"/>
                <a:gd name="connsiteX7" fmla="*/ 0 w 135255"/>
                <a:gd name="connsiteY7" fmla="*/ 216789 h 274415"/>
                <a:gd name="connsiteX8" fmla="*/ 57626 w 135255"/>
                <a:gd name="connsiteY8" fmla="*/ 274415 h 27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5" h="274415">
                  <a:moveTo>
                    <a:pt x="57626" y="274415"/>
                  </a:moveTo>
                  <a:lnTo>
                    <a:pt x="77629" y="274415"/>
                  </a:lnTo>
                  <a:cubicBezTo>
                    <a:pt x="109347" y="274415"/>
                    <a:pt x="135255" y="248507"/>
                    <a:pt x="135255" y="216789"/>
                  </a:cubicBezTo>
                  <a:lnTo>
                    <a:pt x="135255" y="57626"/>
                  </a:lnTo>
                  <a:cubicBezTo>
                    <a:pt x="135255" y="25908"/>
                    <a:pt x="109347" y="0"/>
                    <a:pt x="77629" y="0"/>
                  </a:cubicBezTo>
                  <a:lnTo>
                    <a:pt x="57626" y="0"/>
                  </a:lnTo>
                  <a:cubicBezTo>
                    <a:pt x="25908" y="0"/>
                    <a:pt x="0" y="25908"/>
                    <a:pt x="0" y="57626"/>
                  </a:cubicBezTo>
                  <a:lnTo>
                    <a:pt x="0" y="216789"/>
                  </a:lnTo>
                  <a:cubicBezTo>
                    <a:pt x="0" y="248412"/>
                    <a:pt x="25908" y="274415"/>
                    <a:pt x="57626" y="274415"/>
                  </a:cubicBez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1" name="Freeform: Shape 180">
              <a:extLst>
                <a:ext uri="{FF2B5EF4-FFF2-40B4-BE49-F238E27FC236}">
                  <a16:creationId xmlns:a16="http://schemas.microsoft.com/office/drawing/2014/main" id="{EC26F890-1BF5-4511-A1AD-26714D9D4878}"/>
                </a:ext>
              </a:extLst>
            </p:cNvPr>
            <p:cNvSpPr/>
            <p:nvPr/>
          </p:nvSpPr>
          <p:spPr>
            <a:xfrm>
              <a:off x="2129520" y="2520773"/>
              <a:ext cx="621982" cy="435008"/>
            </a:xfrm>
            <a:custGeom>
              <a:avLst/>
              <a:gdLst>
                <a:gd name="connsiteX0" fmla="*/ 331280 w 621982"/>
                <a:gd name="connsiteY0" fmla="*/ 2 h 435008"/>
                <a:gd name="connsiteX1" fmla="*/ 247841 w 621982"/>
                <a:gd name="connsiteY1" fmla="*/ 83441 h 435008"/>
                <a:gd name="connsiteX2" fmla="*/ 247841 w 621982"/>
                <a:gd name="connsiteY2" fmla="*/ 146592 h 435008"/>
                <a:gd name="connsiteX3" fmla="*/ 83439 w 621982"/>
                <a:gd name="connsiteY3" fmla="*/ 146592 h 435008"/>
                <a:gd name="connsiteX4" fmla="*/ 0 w 621982"/>
                <a:gd name="connsiteY4" fmla="*/ 230030 h 435008"/>
                <a:gd name="connsiteX5" fmla="*/ 0 w 621982"/>
                <a:gd name="connsiteY5" fmla="*/ 283751 h 435008"/>
                <a:gd name="connsiteX6" fmla="*/ 232410 w 621982"/>
                <a:gd name="connsiteY6" fmla="*/ 283751 h 435008"/>
                <a:gd name="connsiteX7" fmla="*/ 315849 w 621982"/>
                <a:gd name="connsiteY7" fmla="*/ 367190 h 435008"/>
                <a:gd name="connsiteX8" fmla="*/ 393001 w 621982"/>
                <a:gd name="connsiteY8" fmla="*/ 435009 h 435008"/>
                <a:gd name="connsiteX9" fmla="*/ 459867 w 621982"/>
                <a:gd name="connsiteY9" fmla="*/ 434437 h 435008"/>
                <a:gd name="connsiteX10" fmla="*/ 459867 w 621982"/>
                <a:gd name="connsiteY10" fmla="*/ 360142 h 435008"/>
                <a:gd name="connsiteX11" fmla="*/ 529876 w 621982"/>
                <a:gd name="connsiteY11" fmla="*/ 290133 h 435008"/>
                <a:gd name="connsiteX12" fmla="*/ 541020 w 621982"/>
                <a:gd name="connsiteY12" fmla="*/ 290133 h 435008"/>
                <a:gd name="connsiteX13" fmla="*/ 621983 w 621982"/>
                <a:gd name="connsiteY13" fmla="*/ 209171 h 435008"/>
                <a:gd name="connsiteX14" fmla="*/ 621983 w 621982"/>
                <a:gd name="connsiteY14" fmla="*/ 2097 h 435008"/>
                <a:gd name="connsiteX15" fmla="*/ 331280 w 621982"/>
                <a:gd name="connsiteY15" fmla="*/ 2 h 43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1982" h="435008">
                  <a:moveTo>
                    <a:pt x="331280" y="2"/>
                  </a:moveTo>
                  <a:cubicBezTo>
                    <a:pt x="285369" y="-284"/>
                    <a:pt x="247841" y="37530"/>
                    <a:pt x="247841" y="83441"/>
                  </a:cubicBezTo>
                  <a:lnTo>
                    <a:pt x="247841" y="146592"/>
                  </a:lnTo>
                  <a:lnTo>
                    <a:pt x="83439" y="146592"/>
                  </a:lnTo>
                  <a:cubicBezTo>
                    <a:pt x="37529" y="146592"/>
                    <a:pt x="0" y="184120"/>
                    <a:pt x="0" y="230030"/>
                  </a:cubicBezTo>
                  <a:lnTo>
                    <a:pt x="0" y="283751"/>
                  </a:lnTo>
                  <a:lnTo>
                    <a:pt x="232410" y="283751"/>
                  </a:lnTo>
                  <a:cubicBezTo>
                    <a:pt x="278321" y="283751"/>
                    <a:pt x="315849" y="321280"/>
                    <a:pt x="315849" y="367190"/>
                  </a:cubicBezTo>
                  <a:cubicBezTo>
                    <a:pt x="312706" y="406052"/>
                    <a:pt x="339947" y="427103"/>
                    <a:pt x="393001" y="435009"/>
                  </a:cubicBezTo>
                  <a:lnTo>
                    <a:pt x="459867" y="434437"/>
                  </a:lnTo>
                  <a:lnTo>
                    <a:pt x="459867" y="360142"/>
                  </a:lnTo>
                  <a:cubicBezTo>
                    <a:pt x="459867" y="321661"/>
                    <a:pt x="491395" y="290133"/>
                    <a:pt x="529876" y="290133"/>
                  </a:cubicBezTo>
                  <a:lnTo>
                    <a:pt x="541020" y="290133"/>
                  </a:lnTo>
                  <a:cubicBezTo>
                    <a:pt x="585597" y="290133"/>
                    <a:pt x="621983" y="253748"/>
                    <a:pt x="621983" y="209171"/>
                  </a:cubicBezTo>
                  <a:lnTo>
                    <a:pt x="621983" y="2097"/>
                  </a:lnTo>
                  <a:lnTo>
                    <a:pt x="331280" y="2"/>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2" name="Freeform: Shape 181">
              <a:extLst>
                <a:ext uri="{FF2B5EF4-FFF2-40B4-BE49-F238E27FC236}">
                  <a16:creationId xmlns:a16="http://schemas.microsoft.com/office/drawing/2014/main" id="{621359D7-1EE5-4D39-BB9C-08FF8CB994F2}"/>
                </a:ext>
              </a:extLst>
            </p:cNvPr>
            <p:cNvSpPr/>
            <p:nvPr/>
          </p:nvSpPr>
          <p:spPr>
            <a:xfrm>
              <a:off x="1962262" y="2804429"/>
              <a:ext cx="627126" cy="447484"/>
            </a:xfrm>
            <a:custGeom>
              <a:avLst/>
              <a:gdLst>
                <a:gd name="connsiteX0" fmla="*/ 627126 w 627126"/>
                <a:gd name="connsiteY0" fmla="*/ 447485 h 447484"/>
                <a:gd name="connsiteX1" fmla="*/ 627126 w 627126"/>
                <a:gd name="connsiteY1" fmla="*/ 150686 h 447484"/>
                <a:gd name="connsiteX2" fmla="*/ 560260 w 627126"/>
                <a:gd name="connsiteY2" fmla="*/ 151257 h 447484"/>
                <a:gd name="connsiteX3" fmla="*/ 483108 w 627126"/>
                <a:gd name="connsiteY3" fmla="*/ 83439 h 447484"/>
                <a:gd name="connsiteX4" fmla="*/ 399669 w 627126"/>
                <a:gd name="connsiteY4" fmla="*/ 0 h 447484"/>
                <a:gd name="connsiteX5" fmla="*/ 168212 w 627126"/>
                <a:gd name="connsiteY5" fmla="*/ 0 h 447484"/>
                <a:gd name="connsiteX6" fmla="*/ 168212 w 627126"/>
                <a:gd name="connsiteY6" fmla="*/ 69437 h 447484"/>
                <a:gd name="connsiteX7" fmla="*/ 84106 w 627126"/>
                <a:gd name="connsiteY7" fmla="*/ 158401 h 447484"/>
                <a:gd name="connsiteX8" fmla="*/ 0 w 627126"/>
                <a:gd name="connsiteY8" fmla="*/ 158401 h 447484"/>
                <a:gd name="connsiteX9" fmla="*/ 381 w 627126"/>
                <a:gd name="connsiteY9" fmla="*/ 212788 h 447484"/>
                <a:gd name="connsiteX10" fmla="*/ 83820 w 627126"/>
                <a:gd name="connsiteY10" fmla="*/ 296228 h 447484"/>
                <a:gd name="connsiteX11" fmla="*/ 225457 w 627126"/>
                <a:gd name="connsiteY11" fmla="*/ 296228 h 447484"/>
                <a:gd name="connsiteX12" fmla="*/ 318421 w 627126"/>
                <a:gd name="connsiteY12" fmla="*/ 364046 h 447484"/>
                <a:gd name="connsiteX13" fmla="*/ 401860 w 627126"/>
                <a:gd name="connsiteY13" fmla="*/ 447485 h 447484"/>
                <a:gd name="connsiteX14" fmla="*/ 627126 w 627126"/>
                <a:gd name="connsiteY14" fmla="*/ 447485 h 44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7126" h="447484">
                  <a:moveTo>
                    <a:pt x="627126" y="447485"/>
                  </a:moveTo>
                  <a:lnTo>
                    <a:pt x="627126" y="150686"/>
                  </a:lnTo>
                  <a:lnTo>
                    <a:pt x="560260" y="151257"/>
                  </a:lnTo>
                  <a:cubicBezTo>
                    <a:pt x="507301" y="143351"/>
                    <a:pt x="479965" y="122301"/>
                    <a:pt x="483108" y="83439"/>
                  </a:cubicBezTo>
                  <a:cubicBezTo>
                    <a:pt x="483108" y="37529"/>
                    <a:pt x="445580" y="0"/>
                    <a:pt x="399669" y="0"/>
                  </a:cubicBezTo>
                  <a:lnTo>
                    <a:pt x="168212" y="0"/>
                  </a:lnTo>
                  <a:lnTo>
                    <a:pt x="168212" y="69437"/>
                  </a:lnTo>
                  <a:cubicBezTo>
                    <a:pt x="168212" y="115348"/>
                    <a:pt x="130016" y="158401"/>
                    <a:pt x="84106" y="158401"/>
                  </a:cubicBezTo>
                  <a:lnTo>
                    <a:pt x="0" y="158401"/>
                  </a:lnTo>
                  <a:lnTo>
                    <a:pt x="381" y="212788"/>
                  </a:lnTo>
                  <a:cubicBezTo>
                    <a:pt x="667" y="258699"/>
                    <a:pt x="37909" y="296228"/>
                    <a:pt x="83820" y="296228"/>
                  </a:cubicBezTo>
                  <a:lnTo>
                    <a:pt x="225457" y="296228"/>
                  </a:lnTo>
                  <a:cubicBezTo>
                    <a:pt x="307753" y="293180"/>
                    <a:pt x="320326" y="324993"/>
                    <a:pt x="318421" y="364046"/>
                  </a:cubicBezTo>
                  <a:cubicBezTo>
                    <a:pt x="318421" y="409956"/>
                    <a:pt x="355949" y="447485"/>
                    <a:pt x="401860" y="447485"/>
                  </a:cubicBezTo>
                  <a:lnTo>
                    <a:pt x="627126" y="447485"/>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3" name="Freeform: Shape 182">
              <a:extLst>
                <a:ext uri="{FF2B5EF4-FFF2-40B4-BE49-F238E27FC236}">
                  <a16:creationId xmlns:a16="http://schemas.microsoft.com/office/drawing/2014/main" id="{4CF09B19-85C5-42E8-A912-AF948F6D3DB9}"/>
                </a:ext>
              </a:extLst>
            </p:cNvPr>
            <p:cNvSpPr/>
            <p:nvPr/>
          </p:nvSpPr>
          <p:spPr>
            <a:xfrm>
              <a:off x="2437369" y="3095990"/>
              <a:ext cx="152019" cy="156019"/>
            </a:xfrm>
            <a:custGeom>
              <a:avLst/>
              <a:gdLst>
                <a:gd name="connsiteX0" fmla="*/ 152019 w 152019"/>
                <a:gd name="connsiteY0" fmla="*/ 0 h 156019"/>
                <a:gd name="connsiteX1" fmla="*/ 57626 w 152019"/>
                <a:gd name="connsiteY1" fmla="*/ 0 h 156019"/>
                <a:gd name="connsiteX2" fmla="*/ 0 w 152019"/>
                <a:gd name="connsiteY2" fmla="*/ 57626 h 156019"/>
                <a:gd name="connsiteX3" fmla="*/ 0 w 152019"/>
                <a:gd name="connsiteY3" fmla="*/ 156019 h 156019"/>
                <a:gd name="connsiteX4" fmla="*/ 152019 w 152019"/>
                <a:gd name="connsiteY4" fmla="*/ 156019 h 156019"/>
                <a:gd name="connsiteX5" fmla="*/ 152019 w 152019"/>
                <a:gd name="connsiteY5" fmla="*/ 0 h 15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019" h="156019">
                  <a:moveTo>
                    <a:pt x="152019" y="0"/>
                  </a:moveTo>
                  <a:lnTo>
                    <a:pt x="57626" y="0"/>
                  </a:lnTo>
                  <a:cubicBezTo>
                    <a:pt x="25908" y="0"/>
                    <a:pt x="0" y="25908"/>
                    <a:pt x="0" y="57626"/>
                  </a:cubicBezTo>
                  <a:lnTo>
                    <a:pt x="0" y="156019"/>
                  </a:lnTo>
                  <a:lnTo>
                    <a:pt x="152019" y="156019"/>
                  </a:lnTo>
                  <a:lnTo>
                    <a:pt x="152019" y="0"/>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4" name="Freeform: Shape 183">
              <a:extLst>
                <a:ext uri="{FF2B5EF4-FFF2-40B4-BE49-F238E27FC236}">
                  <a16:creationId xmlns:a16="http://schemas.microsoft.com/office/drawing/2014/main" id="{76151290-266A-4468-B6E6-919E9BE7918C}"/>
                </a:ext>
              </a:extLst>
            </p:cNvPr>
            <p:cNvSpPr/>
            <p:nvPr/>
          </p:nvSpPr>
          <p:spPr>
            <a:xfrm>
              <a:off x="866029" y="2961973"/>
              <a:ext cx="1885569" cy="1438655"/>
            </a:xfrm>
            <a:custGeom>
              <a:avLst/>
              <a:gdLst>
                <a:gd name="connsiteX0" fmla="*/ 945452 w 1885569"/>
                <a:gd name="connsiteY0" fmla="*/ 114776 h 1438655"/>
                <a:gd name="connsiteX1" fmla="*/ 945452 w 1885569"/>
                <a:gd name="connsiteY1" fmla="*/ 205835 h 1438655"/>
                <a:gd name="connsiteX2" fmla="*/ 864489 w 1885569"/>
                <a:gd name="connsiteY2" fmla="*/ 286798 h 1438655"/>
                <a:gd name="connsiteX3" fmla="*/ 558165 w 1885569"/>
                <a:gd name="connsiteY3" fmla="*/ 286798 h 1438655"/>
                <a:gd name="connsiteX4" fmla="*/ 475393 w 1885569"/>
                <a:gd name="connsiteY4" fmla="*/ 359759 h 1438655"/>
                <a:gd name="connsiteX5" fmla="*/ 395002 w 1885569"/>
                <a:gd name="connsiteY5" fmla="*/ 430530 h 1438655"/>
                <a:gd name="connsiteX6" fmla="*/ 57626 w 1885569"/>
                <a:gd name="connsiteY6" fmla="*/ 430530 h 1438655"/>
                <a:gd name="connsiteX7" fmla="*/ 0 w 1885569"/>
                <a:gd name="connsiteY7" fmla="*/ 488156 h 1438655"/>
                <a:gd name="connsiteX8" fmla="*/ 0 w 1885569"/>
                <a:gd name="connsiteY8" fmla="*/ 508159 h 1438655"/>
                <a:gd name="connsiteX9" fmla="*/ 57626 w 1885569"/>
                <a:gd name="connsiteY9" fmla="*/ 565785 h 1438655"/>
                <a:gd name="connsiteX10" fmla="*/ 222885 w 1885569"/>
                <a:gd name="connsiteY10" fmla="*/ 565785 h 1438655"/>
                <a:gd name="connsiteX11" fmla="*/ 303848 w 1885569"/>
                <a:gd name="connsiteY11" fmla="*/ 645890 h 1438655"/>
                <a:gd name="connsiteX12" fmla="*/ 361474 w 1885569"/>
                <a:gd name="connsiteY12" fmla="*/ 702850 h 1438655"/>
                <a:gd name="connsiteX13" fmla="*/ 550736 w 1885569"/>
                <a:gd name="connsiteY13" fmla="*/ 702850 h 1438655"/>
                <a:gd name="connsiteX14" fmla="*/ 631698 w 1885569"/>
                <a:gd name="connsiteY14" fmla="*/ 783812 h 1438655"/>
                <a:gd name="connsiteX15" fmla="*/ 631698 w 1885569"/>
                <a:gd name="connsiteY15" fmla="*/ 924687 h 1438655"/>
                <a:gd name="connsiteX16" fmla="*/ 550736 w 1885569"/>
                <a:gd name="connsiteY16" fmla="*/ 1005649 h 1438655"/>
                <a:gd name="connsiteX17" fmla="*/ 536257 w 1885569"/>
                <a:gd name="connsiteY17" fmla="*/ 1005649 h 1438655"/>
                <a:gd name="connsiteX18" fmla="*/ 478631 w 1885569"/>
                <a:gd name="connsiteY18" fmla="*/ 1063276 h 1438655"/>
                <a:gd name="connsiteX19" fmla="*/ 478631 w 1885569"/>
                <a:gd name="connsiteY19" fmla="*/ 1220914 h 1438655"/>
                <a:gd name="connsiteX20" fmla="*/ 397669 w 1885569"/>
                <a:gd name="connsiteY20" fmla="*/ 1301877 h 1438655"/>
                <a:gd name="connsiteX21" fmla="*/ 883634 w 1885569"/>
                <a:gd name="connsiteY21" fmla="*/ 1301877 h 1438655"/>
                <a:gd name="connsiteX22" fmla="*/ 941261 w 1885569"/>
                <a:gd name="connsiteY22" fmla="*/ 1359503 h 1438655"/>
                <a:gd name="connsiteX23" fmla="*/ 941261 w 1885569"/>
                <a:gd name="connsiteY23" fmla="*/ 1380363 h 1438655"/>
                <a:gd name="connsiteX24" fmla="*/ 941546 w 1885569"/>
                <a:gd name="connsiteY24" fmla="*/ 1380363 h 1438655"/>
                <a:gd name="connsiteX25" fmla="*/ 941546 w 1885569"/>
                <a:gd name="connsiteY25" fmla="*/ 1381030 h 1438655"/>
                <a:gd name="connsiteX26" fmla="*/ 999173 w 1885569"/>
                <a:gd name="connsiteY26" fmla="*/ 1438656 h 1438655"/>
                <a:gd name="connsiteX27" fmla="*/ 1261110 w 1885569"/>
                <a:gd name="connsiteY27" fmla="*/ 1438656 h 1438655"/>
                <a:gd name="connsiteX28" fmla="*/ 1261110 w 1885569"/>
                <a:gd name="connsiteY28" fmla="*/ 1362647 h 1438655"/>
                <a:gd name="connsiteX29" fmla="*/ 1318736 w 1885569"/>
                <a:gd name="connsiteY29" fmla="*/ 1305020 h 1438655"/>
                <a:gd name="connsiteX30" fmla="*/ 1765459 w 1885569"/>
                <a:gd name="connsiteY30" fmla="*/ 1305020 h 1438655"/>
                <a:gd name="connsiteX31" fmla="*/ 1785557 w 1885569"/>
                <a:gd name="connsiteY31" fmla="*/ 1304544 h 1438655"/>
                <a:gd name="connsiteX32" fmla="*/ 1827181 w 1885569"/>
                <a:gd name="connsiteY32" fmla="*/ 1303115 h 1438655"/>
                <a:gd name="connsiteX33" fmla="*/ 1884807 w 1885569"/>
                <a:gd name="connsiteY33" fmla="*/ 1245489 h 1438655"/>
                <a:gd name="connsiteX34" fmla="*/ 1885093 w 1885569"/>
                <a:gd name="connsiteY34" fmla="*/ 865251 h 1438655"/>
                <a:gd name="connsiteX35" fmla="*/ 1789367 w 1885569"/>
                <a:gd name="connsiteY35" fmla="*/ 865251 h 1438655"/>
                <a:gd name="connsiteX36" fmla="*/ 1731740 w 1885569"/>
                <a:gd name="connsiteY36" fmla="*/ 807625 h 1438655"/>
                <a:gd name="connsiteX37" fmla="*/ 1731740 w 1885569"/>
                <a:gd name="connsiteY37" fmla="*/ 629983 h 1438655"/>
                <a:gd name="connsiteX38" fmla="*/ 1789367 w 1885569"/>
                <a:gd name="connsiteY38" fmla="*/ 572357 h 1438655"/>
                <a:gd name="connsiteX39" fmla="*/ 1885474 w 1885569"/>
                <a:gd name="connsiteY39" fmla="*/ 572357 h 1438655"/>
                <a:gd name="connsiteX40" fmla="*/ 1885569 w 1885569"/>
                <a:gd name="connsiteY40" fmla="*/ 495967 h 1438655"/>
                <a:gd name="connsiteX41" fmla="*/ 1805464 w 1885569"/>
                <a:gd name="connsiteY41" fmla="*/ 427101 h 1438655"/>
                <a:gd name="connsiteX42" fmla="*/ 1793653 w 1885569"/>
                <a:gd name="connsiteY42" fmla="*/ 427101 h 1438655"/>
                <a:gd name="connsiteX43" fmla="*/ 1723644 w 1885569"/>
                <a:gd name="connsiteY43" fmla="*/ 357092 h 1438655"/>
                <a:gd name="connsiteX44" fmla="*/ 1723644 w 1885569"/>
                <a:gd name="connsiteY44" fmla="*/ 289750 h 1438655"/>
                <a:gd name="connsiteX45" fmla="*/ 1498378 w 1885569"/>
                <a:gd name="connsiteY45" fmla="*/ 289750 h 1438655"/>
                <a:gd name="connsiteX46" fmla="*/ 1417225 w 1885569"/>
                <a:gd name="connsiteY46" fmla="*/ 225742 h 1438655"/>
                <a:gd name="connsiteX47" fmla="*/ 1415034 w 1885569"/>
                <a:gd name="connsiteY47" fmla="*/ 204025 h 1438655"/>
                <a:gd name="connsiteX48" fmla="*/ 1323308 w 1885569"/>
                <a:gd name="connsiteY48" fmla="*/ 138398 h 1438655"/>
                <a:gd name="connsiteX49" fmla="*/ 1320641 w 1885569"/>
                <a:gd name="connsiteY49" fmla="*/ 138398 h 1438655"/>
                <a:gd name="connsiteX50" fmla="*/ 1180338 w 1885569"/>
                <a:gd name="connsiteY50" fmla="*/ 138398 h 1438655"/>
                <a:gd name="connsiteX51" fmla="*/ 1121950 w 1885569"/>
                <a:gd name="connsiteY51" fmla="*/ 114490 h 1438655"/>
                <a:gd name="connsiteX52" fmla="*/ 1121950 w 1885569"/>
                <a:gd name="connsiteY52" fmla="*/ 114490 h 1438655"/>
                <a:gd name="connsiteX53" fmla="*/ 1115092 w 1885569"/>
                <a:gd name="connsiteY53" fmla="*/ 106966 h 1438655"/>
                <a:gd name="connsiteX54" fmla="*/ 1114616 w 1885569"/>
                <a:gd name="connsiteY54" fmla="*/ 106299 h 1438655"/>
                <a:gd name="connsiteX55" fmla="*/ 1114520 w 1885569"/>
                <a:gd name="connsiteY55" fmla="*/ 106204 h 1438655"/>
                <a:gd name="connsiteX56" fmla="*/ 1114425 w 1885569"/>
                <a:gd name="connsiteY56" fmla="*/ 106108 h 1438655"/>
                <a:gd name="connsiteX57" fmla="*/ 1109853 w 1885569"/>
                <a:gd name="connsiteY57" fmla="*/ 99631 h 1438655"/>
                <a:gd name="connsiteX58" fmla="*/ 1109853 w 1885569"/>
                <a:gd name="connsiteY58" fmla="*/ 99631 h 1438655"/>
                <a:gd name="connsiteX59" fmla="*/ 1108805 w 1885569"/>
                <a:gd name="connsiteY59" fmla="*/ 97917 h 1438655"/>
                <a:gd name="connsiteX60" fmla="*/ 1108805 w 1885569"/>
                <a:gd name="connsiteY60" fmla="*/ 97822 h 1438655"/>
                <a:gd name="connsiteX61" fmla="*/ 1108424 w 1885569"/>
                <a:gd name="connsiteY61" fmla="*/ 97155 h 1438655"/>
                <a:gd name="connsiteX62" fmla="*/ 1108329 w 1885569"/>
                <a:gd name="connsiteY62" fmla="*/ 96964 h 1438655"/>
                <a:gd name="connsiteX63" fmla="*/ 1107853 w 1885569"/>
                <a:gd name="connsiteY63" fmla="*/ 96107 h 1438655"/>
                <a:gd name="connsiteX64" fmla="*/ 1107853 w 1885569"/>
                <a:gd name="connsiteY64" fmla="*/ 96107 h 1438655"/>
                <a:gd name="connsiteX65" fmla="*/ 1107377 w 1885569"/>
                <a:gd name="connsiteY65" fmla="*/ 95250 h 1438655"/>
                <a:gd name="connsiteX66" fmla="*/ 1107377 w 1885569"/>
                <a:gd name="connsiteY66" fmla="*/ 95250 h 1438655"/>
                <a:gd name="connsiteX67" fmla="*/ 1106996 w 1885569"/>
                <a:gd name="connsiteY67" fmla="*/ 94488 h 1438655"/>
                <a:gd name="connsiteX68" fmla="*/ 1106900 w 1885569"/>
                <a:gd name="connsiteY68" fmla="*/ 94393 h 1438655"/>
                <a:gd name="connsiteX69" fmla="*/ 1106424 w 1885569"/>
                <a:gd name="connsiteY69" fmla="*/ 93536 h 1438655"/>
                <a:gd name="connsiteX70" fmla="*/ 1106424 w 1885569"/>
                <a:gd name="connsiteY70" fmla="*/ 93440 h 1438655"/>
                <a:gd name="connsiteX71" fmla="*/ 1106329 w 1885569"/>
                <a:gd name="connsiteY71" fmla="*/ 93154 h 1438655"/>
                <a:gd name="connsiteX72" fmla="*/ 1105948 w 1885569"/>
                <a:gd name="connsiteY72" fmla="*/ 92392 h 1438655"/>
                <a:gd name="connsiteX73" fmla="*/ 1105567 w 1885569"/>
                <a:gd name="connsiteY73" fmla="*/ 91630 h 1438655"/>
                <a:gd name="connsiteX74" fmla="*/ 1105091 w 1885569"/>
                <a:gd name="connsiteY74" fmla="*/ 90678 h 1438655"/>
                <a:gd name="connsiteX75" fmla="*/ 1104995 w 1885569"/>
                <a:gd name="connsiteY75" fmla="*/ 90583 h 1438655"/>
                <a:gd name="connsiteX76" fmla="*/ 1104614 w 1885569"/>
                <a:gd name="connsiteY76" fmla="*/ 89821 h 1438655"/>
                <a:gd name="connsiteX77" fmla="*/ 1104614 w 1885569"/>
                <a:gd name="connsiteY77" fmla="*/ 89821 h 1438655"/>
                <a:gd name="connsiteX78" fmla="*/ 1104233 w 1885569"/>
                <a:gd name="connsiteY78" fmla="*/ 88963 h 1438655"/>
                <a:gd name="connsiteX79" fmla="*/ 1104233 w 1885569"/>
                <a:gd name="connsiteY79" fmla="*/ 88963 h 1438655"/>
                <a:gd name="connsiteX80" fmla="*/ 1103852 w 1885569"/>
                <a:gd name="connsiteY80" fmla="*/ 88011 h 1438655"/>
                <a:gd name="connsiteX81" fmla="*/ 1103662 w 1885569"/>
                <a:gd name="connsiteY81" fmla="*/ 87535 h 1438655"/>
                <a:gd name="connsiteX82" fmla="*/ 1103281 w 1885569"/>
                <a:gd name="connsiteY82" fmla="*/ 86582 h 1438655"/>
                <a:gd name="connsiteX83" fmla="*/ 1103186 w 1885569"/>
                <a:gd name="connsiteY83" fmla="*/ 86392 h 1438655"/>
                <a:gd name="connsiteX84" fmla="*/ 1102614 w 1885569"/>
                <a:gd name="connsiteY84" fmla="*/ 84963 h 1438655"/>
                <a:gd name="connsiteX85" fmla="*/ 1102424 w 1885569"/>
                <a:gd name="connsiteY85" fmla="*/ 84582 h 1438655"/>
                <a:gd name="connsiteX86" fmla="*/ 1097090 w 1885569"/>
                <a:gd name="connsiteY86" fmla="*/ 55245 h 1438655"/>
                <a:gd name="connsiteX87" fmla="*/ 1097090 w 1885569"/>
                <a:gd name="connsiteY87" fmla="*/ 0 h 1438655"/>
                <a:gd name="connsiteX88" fmla="*/ 1029367 w 1885569"/>
                <a:gd name="connsiteY88" fmla="*/ 0 h 1438655"/>
                <a:gd name="connsiteX89" fmla="*/ 945928 w 1885569"/>
                <a:gd name="connsiteY89" fmla="*/ 83439 h 1438655"/>
                <a:gd name="connsiteX90" fmla="*/ 945452 w 1885569"/>
                <a:gd name="connsiteY90" fmla="*/ 114776 h 1438655"/>
                <a:gd name="connsiteX91" fmla="*/ 945452 w 1885569"/>
                <a:gd name="connsiteY91" fmla="*/ 114776 h 143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885569" h="1438655">
                  <a:moveTo>
                    <a:pt x="945452" y="114776"/>
                  </a:moveTo>
                  <a:lnTo>
                    <a:pt x="945452" y="205835"/>
                  </a:lnTo>
                  <a:cubicBezTo>
                    <a:pt x="945452" y="250412"/>
                    <a:pt x="909066" y="286798"/>
                    <a:pt x="864489" y="286798"/>
                  </a:cubicBezTo>
                  <a:lnTo>
                    <a:pt x="558165" y="286798"/>
                  </a:lnTo>
                  <a:cubicBezTo>
                    <a:pt x="515874" y="286798"/>
                    <a:pt x="480632" y="318706"/>
                    <a:pt x="475393" y="359759"/>
                  </a:cubicBezTo>
                  <a:cubicBezTo>
                    <a:pt x="470249" y="400431"/>
                    <a:pt x="436055" y="430530"/>
                    <a:pt x="395002" y="430530"/>
                  </a:cubicBezTo>
                  <a:lnTo>
                    <a:pt x="57626" y="430530"/>
                  </a:lnTo>
                  <a:cubicBezTo>
                    <a:pt x="25908" y="430530"/>
                    <a:pt x="0" y="456438"/>
                    <a:pt x="0" y="488156"/>
                  </a:cubicBezTo>
                  <a:lnTo>
                    <a:pt x="0" y="508159"/>
                  </a:lnTo>
                  <a:cubicBezTo>
                    <a:pt x="0" y="539877"/>
                    <a:pt x="25908" y="565785"/>
                    <a:pt x="57626" y="565785"/>
                  </a:cubicBezTo>
                  <a:lnTo>
                    <a:pt x="222885" y="565785"/>
                  </a:lnTo>
                  <a:cubicBezTo>
                    <a:pt x="267176" y="565785"/>
                    <a:pt x="303371" y="601599"/>
                    <a:pt x="303848" y="645890"/>
                  </a:cubicBezTo>
                  <a:cubicBezTo>
                    <a:pt x="304229" y="677323"/>
                    <a:pt x="329946" y="702850"/>
                    <a:pt x="361474" y="702850"/>
                  </a:cubicBezTo>
                  <a:lnTo>
                    <a:pt x="550736" y="702850"/>
                  </a:lnTo>
                  <a:cubicBezTo>
                    <a:pt x="595313" y="702850"/>
                    <a:pt x="631698" y="739235"/>
                    <a:pt x="631698" y="783812"/>
                  </a:cubicBezTo>
                  <a:lnTo>
                    <a:pt x="631698" y="924687"/>
                  </a:lnTo>
                  <a:cubicBezTo>
                    <a:pt x="631698" y="969264"/>
                    <a:pt x="595313" y="1005649"/>
                    <a:pt x="550736" y="1005649"/>
                  </a:cubicBezTo>
                  <a:lnTo>
                    <a:pt x="536257" y="1005649"/>
                  </a:lnTo>
                  <a:cubicBezTo>
                    <a:pt x="504539" y="1005649"/>
                    <a:pt x="478631" y="1031557"/>
                    <a:pt x="478631" y="1063276"/>
                  </a:cubicBezTo>
                  <a:lnTo>
                    <a:pt x="478631" y="1220914"/>
                  </a:lnTo>
                  <a:cubicBezTo>
                    <a:pt x="478631" y="1265491"/>
                    <a:pt x="442246" y="1301877"/>
                    <a:pt x="397669" y="1301877"/>
                  </a:cubicBezTo>
                  <a:lnTo>
                    <a:pt x="883634" y="1301877"/>
                  </a:lnTo>
                  <a:cubicBezTo>
                    <a:pt x="915353" y="1301877"/>
                    <a:pt x="941261" y="1327785"/>
                    <a:pt x="941261" y="1359503"/>
                  </a:cubicBezTo>
                  <a:lnTo>
                    <a:pt x="941261" y="1380363"/>
                  </a:lnTo>
                  <a:lnTo>
                    <a:pt x="941546" y="1380363"/>
                  </a:lnTo>
                  <a:lnTo>
                    <a:pt x="941546" y="1381030"/>
                  </a:lnTo>
                  <a:cubicBezTo>
                    <a:pt x="941546" y="1412748"/>
                    <a:pt x="967454" y="1438656"/>
                    <a:pt x="999173" y="1438656"/>
                  </a:cubicBezTo>
                  <a:lnTo>
                    <a:pt x="1261110" y="1438656"/>
                  </a:lnTo>
                  <a:lnTo>
                    <a:pt x="1261110" y="1362647"/>
                  </a:lnTo>
                  <a:cubicBezTo>
                    <a:pt x="1261110" y="1330928"/>
                    <a:pt x="1287018" y="1305020"/>
                    <a:pt x="1318736" y="1305020"/>
                  </a:cubicBezTo>
                  <a:lnTo>
                    <a:pt x="1765459" y="1305020"/>
                  </a:lnTo>
                  <a:lnTo>
                    <a:pt x="1785557" y="1304544"/>
                  </a:lnTo>
                  <a:lnTo>
                    <a:pt x="1827181" y="1303115"/>
                  </a:lnTo>
                  <a:cubicBezTo>
                    <a:pt x="1858804" y="1302067"/>
                    <a:pt x="1884807" y="1277207"/>
                    <a:pt x="1884807" y="1245489"/>
                  </a:cubicBezTo>
                  <a:cubicBezTo>
                    <a:pt x="1884807" y="1118806"/>
                    <a:pt x="1884902" y="991933"/>
                    <a:pt x="1885093" y="865251"/>
                  </a:cubicBezTo>
                  <a:lnTo>
                    <a:pt x="1789367" y="865251"/>
                  </a:lnTo>
                  <a:cubicBezTo>
                    <a:pt x="1757648" y="865251"/>
                    <a:pt x="1731740" y="839343"/>
                    <a:pt x="1731740" y="807625"/>
                  </a:cubicBezTo>
                  <a:lnTo>
                    <a:pt x="1731740" y="629983"/>
                  </a:lnTo>
                  <a:cubicBezTo>
                    <a:pt x="1731740" y="598265"/>
                    <a:pt x="1757648" y="572357"/>
                    <a:pt x="1789367" y="572357"/>
                  </a:cubicBezTo>
                  <a:lnTo>
                    <a:pt x="1885474" y="572357"/>
                  </a:lnTo>
                  <a:lnTo>
                    <a:pt x="1885569" y="495967"/>
                  </a:lnTo>
                  <a:cubicBezTo>
                    <a:pt x="1879663" y="457009"/>
                    <a:pt x="1845945" y="427101"/>
                    <a:pt x="1805464" y="427101"/>
                  </a:cubicBezTo>
                  <a:lnTo>
                    <a:pt x="1793653" y="427101"/>
                  </a:lnTo>
                  <a:cubicBezTo>
                    <a:pt x="1755172" y="427101"/>
                    <a:pt x="1723644" y="395573"/>
                    <a:pt x="1723644" y="357092"/>
                  </a:cubicBezTo>
                  <a:lnTo>
                    <a:pt x="1723644" y="289750"/>
                  </a:lnTo>
                  <a:lnTo>
                    <a:pt x="1498378" y="289750"/>
                  </a:lnTo>
                  <a:cubicBezTo>
                    <a:pt x="1459135" y="289750"/>
                    <a:pt x="1426083" y="262318"/>
                    <a:pt x="1417225" y="225742"/>
                  </a:cubicBezTo>
                  <a:cubicBezTo>
                    <a:pt x="1415415" y="218313"/>
                    <a:pt x="1414748" y="211741"/>
                    <a:pt x="1415034" y="204025"/>
                  </a:cubicBezTo>
                  <a:cubicBezTo>
                    <a:pt x="1416272" y="166211"/>
                    <a:pt x="1402842" y="135826"/>
                    <a:pt x="1323308" y="138398"/>
                  </a:cubicBezTo>
                  <a:cubicBezTo>
                    <a:pt x="1322356" y="138398"/>
                    <a:pt x="1321594" y="138398"/>
                    <a:pt x="1320641" y="138398"/>
                  </a:cubicBezTo>
                  <a:lnTo>
                    <a:pt x="1180338" y="138398"/>
                  </a:lnTo>
                  <a:cubicBezTo>
                    <a:pt x="1157669" y="138398"/>
                    <a:pt x="1137095" y="129254"/>
                    <a:pt x="1121950" y="114490"/>
                  </a:cubicBezTo>
                  <a:lnTo>
                    <a:pt x="1121950" y="114490"/>
                  </a:lnTo>
                  <a:cubicBezTo>
                    <a:pt x="1119569" y="112109"/>
                    <a:pt x="1117283" y="109633"/>
                    <a:pt x="1115092" y="106966"/>
                  </a:cubicBezTo>
                  <a:lnTo>
                    <a:pt x="1114616" y="106299"/>
                  </a:lnTo>
                  <a:lnTo>
                    <a:pt x="1114520" y="106204"/>
                  </a:lnTo>
                  <a:lnTo>
                    <a:pt x="1114425" y="106108"/>
                  </a:lnTo>
                  <a:cubicBezTo>
                    <a:pt x="1112806" y="104013"/>
                    <a:pt x="1111282" y="101822"/>
                    <a:pt x="1109853" y="99631"/>
                  </a:cubicBezTo>
                  <a:lnTo>
                    <a:pt x="1109853" y="99631"/>
                  </a:lnTo>
                  <a:cubicBezTo>
                    <a:pt x="1109472" y="99060"/>
                    <a:pt x="1109186" y="98488"/>
                    <a:pt x="1108805" y="97917"/>
                  </a:cubicBezTo>
                  <a:lnTo>
                    <a:pt x="1108805" y="97822"/>
                  </a:lnTo>
                  <a:lnTo>
                    <a:pt x="1108424" y="97155"/>
                  </a:lnTo>
                  <a:lnTo>
                    <a:pt x="1108329" y="96964"/>
                  </a:lnTo>
                  <a:lnTo>
                    <a:pt x="1107853" y="96107"/>
                  </a:lnTo>
                  <a:lnTo>
                    <a:pt x="1107853" y="96107"/>
                  </a:lnTo>
                  <a:lnTo>
                    <a:pt x="1107377" y="95250"/>
                  </a:lnTo>
                  <a:lnTo>
                    <a:pt x="1107377" y="95250"/>
                  </a:lnTo>
                  <a:lnTo>
                    <a:pt x="1106996" y="94488"/>
                  </a:lnTo>
                  <a:lnTo>
                    <a:pt x="1106900" y="94393"/>
                  </a:lnTo>
                  <a:lnTo>
                    <a:pt x="1106424" y="93536"/>
                  </a:lnTo>
                  <a:lnTo>
                    <a:pt x="1106424" y="93440"/>
                  </a:lnTo>
                  <a:lnTo>
                    <a:pt x="1106329" y="93154"/>
                  </a:lnTo>
                  <a:lnTo>
                    <a:pt x="1105948" y="92392"/>
                  </a:lnTo>
                  <a:lnTo>
                    <a:pt x="1105567" y="91630"/>
                  </a:lnTo>
                  <a:lnTo>
                    <a:pt x="1105091" y="90678"/>
                  </a:lnTo>
                  <a:lnTo>
                    <a:pt x="1104995" y="90583"/>
                  </a:lnTo>
                  <a:lnTo>
                    <a:pt x="1104614" y="89821"/>
                  </a:lnTo>
                  <a:lnTo>
                    <a:pt x="1104614" y="89821"/>
                  </a:lnTo>
                  <a:lnTo>
                    <a:pt x="1104233" y="88963"/>
                  </a:lnTo>
                  <a:lnTo>
                    <a:pt x="1104233" y="88963"/>
                  </a:lnTo>
                  <a:lnTo>
                    <a:pt x="1103852" y="88011"/>
                  </a:lnTo>
                  <a:lnTo>
                    <a:pt x="1103662" y="87535"/>
                  </a:lnTo>
                  <a:lnTo>
                    <a:pt x="1103281" y="86582"/>
                  </a:lnTo>
                  <a:lnTo>
                    <a:pt x="1103186" y="86392"/>
                  </a:lnTo>
                  <a:lnTo>
                    <a:pt x="1102614" y="84963"/>
                  </a:lnTo>
                  <a:lnTo>
                    <a:pt x="1102424" y="84582"/>
                  </a:lnTo>
                  <a:cubicBezTo>
                    <a:pt x="1098995" y="75438"/>
                    <a:pt x="1097090" y="65532"/>
                    <a:pt x="1097090" y="55245"/>
                  </a:cubicBezTo>
                  <a:lnTo>
                    <a:pt x="1097090" y="0"/>
                  </a:lnTo>
                  <a:lnTo>
                    <a:pt x="1029367" y="0"/>
                  </a:lnTo>
                  <a:cubicBezTo>
                    <a:pt x="983456" y="0"/>
                    <a:pt x="945928" y="37529"/>
                    <a:pt x="945928" y="83439"/>
                  </a:cubicBezTo>
                  <a:lnTo>
                    <a:pt x="945452" y="114776"/>
                  </a:lnTo>
                  <a:lnTo>
                    <a:pt x="945452" y="114776"/>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5" name="Freeform: Shape 184">
              <a:extLst>
                <a:ext uri="{FF2B5EF4-FFF2-40B4-BE49-F238E27FC236}">
                  <a16:creationId xmlns:a16="http://schemas.microsoft.com/office/drawing/2014/main" id="{7489208B-85B7-4E6D-85E1-FD125010F0CB}"/>
                </a:ext>
              </a:extLst>
            </p:cNvPr>
            <p:cNvSpPr/>
            <p:nvPr/>
          </p:nvSpPr>
          <p:spPr>
            <a:xfrm>
              <a:off x="1972549" y="4846494"/>
              <a:ext cx="135254" cy="128873"/>
            </a:xfrm>
            <a:custGeom>
              <a:avLst/>
              <a:gdLst>
                <a:gd name="connsiteX0" fmla="*/ 57626 w 135254"/>
                <a:gd name="connsiteY0" fmla="*/ 128874 h 128873"/>
                <a:gd name="connsiteX1" fmla="*/ 77629 w 135254"/>
                <a:gd name="connsiteY1" fmla="*/ 128874 h 128873"/>
                <a:gd name="connsiteX2" fmla="*/ 135255 w 135254"/>
                <a:gd name="connsiteY2" fmla="*/ 71247 h 128873"/>
                <a:gd name="connsiteX3" fmla="*/ 135255 w 135254"/>
                <a:gd name="connsiteY3" fmla="*/ 57626 h 128873"/>
                <a:gd name="connsiteX4" fmla="*/ 77629 w 135254"/>
                <a:gd name="connsiteY4" fmla="*/ 0 h 128873"/>
                <a:gd name="connsiteX5" fmla="*/ 57626 w 135254"/>
                <a:gd name="connsiteY5" fmla="*/ 0 h 128873"/>
                <a:gd name="connsiteX6" fmla="*/ 0 w 135254"/>
                <a:gd name="connsiteY6" fmla="*/ 57626 h 128873"/>
                <a:gd name="connsiteX7" fmla="*/ 0 w 135254"/>
                <a:gd name="connsiteY7" fmla="*/ 71247 h 128873"/>
                <a:gd name="connsiteX8" fmla="*/ 57626 w 135254"/>
                <a:gd name="connsiteY8" fmla="*/ 128874 h 12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4" h="128873">
                  <a:moveTo>
                    <a:pt x="57626" y="128874"/>
                  </a:moveTo>
                  <a:lnTo>
                    <a:pt x="77629" y="128874"/>
                  </a:lnTo>
                  <a:cubicBezTo>
                    <a:pt x="109347" y="128874"/>
                    <a:pt x="135255" y="102965"/>
                    <a:pt x="135255" y="71247"/>
                  </a:cubicBezTo>
                  <a:lnTo>
                    <a:pt x="135255" y="57626"/>
                  </a:lnTo>
                  <a:cubicBezTo>
                    <a:pt x="135255" y="25908"/>
                    <a:pt x="109347" y="0"/>
                    <a:pt x="77629" y="0"/>
                  </a:cubicBezTo>
                  <a:lnTo>
                    <a:pt x="57626" y="0"/>
                  </a:lnTo>
                  <a:cubicBezTo>
                    <a:pt x="25908" y="0"/>
                    <a:pt x="0" y="25908"/>
                    <a:pt x="0" y="57626"/>
                  </a:cubicBezTo>
                  <a:lnTo>
                    <a:pt x="0" y="71247"/>
                  </a:lnTo>
                  <a:cubicBezTo>
                    <a:pt x="0" y="102965"/>
                    <a:pt x="25908" y="128874"/>
                    <a:pt x="57626" y="128874"/>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6" name="Freeform: Shape 185">
              <a:extLst>
                <a:ext uri="{FF2B5EF4-FFF2-40B4-BE49-F238E27FC236}">
                  <a16:creationId xmlns:a16="http://schemas.microsoft.com/office/drawing/2014/main" id="{3F8290F0-D778-4AE7-8E10-FFFF4BC974E4}"/>
                </a:ext>
              </a:extLst>
            </p:cNvPr>
            <p:cNvSpPr/>
            <p:nvPr/>
          </p:nvSpPr>
          <p:spPr>
            <a:xfrm>
              <a:off x="2926191" y="4710763"/>
              <a:ext cx="299656" cy="417766"/>
            </a:xfrm>
            <a:custGeom>
              <a:avLst/>
              <a:gdLst>
                <a:gd name="connsiteX0" fmla="*/ 57626 w 299656"/>
                <a:gd name="connsiteY0" fmla="*/ 417767 h 417766"/>
                <a:gd name="connsiteX1" fmla="*/ 77629 w 299656"/>
                <a:gd name="connsiteY1" fmla="*/ 417767 h 417766"/>
                <a:gd name="connsiteX2" fmla="*/ 135255 w 299656"/>
                <a:gd name="connsiteY2" fmla="*/ 360140 h 417766"/>
                <a:gd name="connsiteX3" fmla="*/ 135255 w 299656"/>
                <a:gd name="connsiteY3" fmla="*/ 216217 h 417766"/>
                <a:gd name="connsiteX4" fmla="*/ 216218 w 299656"/>
                <a:gd name="connsiteY4" fmla="*/ 135255 h 417766"/>
                <a:gd name="connsiteX5" fmla="*/ 242030 w 299656"/>
                <a:gd name="connsiteY5" fmla="*/ 135255 h 417766"/>
                <a:gd name="connsiteX6" fmla="*/ 299656 w 299656"/>
                <a:gd name="connsiteY6" fmla="*/ 77629 h 417766"/>
                <a:gd name="connsiteX7" fmla="*/ 299656 w 299656"/>
                <a:gd name="connsiteY7" fmla="*/ 57626 h 417766"/>
                <a:gd name="connsiteX8" fmla="*/ 242030 w 299656"/>
                <a:gd name="connsiteY8" fmla="*/ 0 h 417766"/>
                <a:gd name="connsiteX9" fmla="*/ 77629 w 299656"/>
                <a:gd name="connsiteY9" fmla="*/ 0 h 417766"/>
                <a:gd name="connsiteX10" fmla="*/ 57626 w 299656"/>
                <a:gd name="connsiteY10" fmla="*/ 0 h 417766"/>
                <a:gd name="connsiteX11" fmla="*/ 56197 w 299656"/>
                <a:gd name="connsiteY11" fmla="*/ 0 h 417766"/>
                <a:gd name="connsiteX12" fmla="*/ 56197 w 299656"/>
                <a:gd name="connsiteY12" fmla="*/ 0 h 417766"/>
                <a:gd name="connsiteX13" fmla="*/ 54769 w 299656"/>
                <a:gd name="connsiteY13" fmla="*/ 95 h 417766"/>
                <a:gd name="connsiteX14" fmla="*/ 54769 w 299656"/>
                <a:gd name="connsiteY14" fmla="*/ 95 h 417766"/>
                <a:gd name="connsiteX15" fmla="*/ 53340 w 299656"/>
                <a:gd name="connsiteY15" fmla="*/ 190 h 417766"/>
                <a:gd name="connsiteX16" fmla="*/ 53340 w 299656"/>
                <a:gd name="connsiteY16" fmla="*/ 190 h 417766"/>
                <a:gd name="connsiteX17" fmla="*/ 51911 w 299656"/>
                <a:gd name="connsiteY17" fmla="*/ 286 h 417766"/>
                <a:gd name="connsiteX18" fmla="*/ 51911 w 299656"/>
                <a:gd name="connsiteY18" fmla="*/ 286 h 417766"/>
                <a:gd name="connsiteX19" fmla="*/ 50482 w 299656"/>
                <a:gd name="connsiteY19" fmla="*/ 476 h 417766"/>
                <a:gd name="connsiteX20" fmla="*/ 50482 w 299656"/>
                <a:gd name="connsiteY20" fmla="*/ 476 h 417766"/>
                <a:gd name="connsiteX21" fmla="*/ 49054 w 299656"/>
                <a:gd name="connsiteY21" fmla="*/ 667 h 417766"/>
                <a:gd name="connsiteX22" fmla="*/ 49054 w 299656"/>
                <a:gd name="connsiteY22" fmla="*/ 667 h 417766"/>
                <a:gd name="connsiteX23" fmla="*/ 47625 w 299656"/>
                <a:gd name="connsiteY23" fmla="*/ 857 h 417766"/>
                <a:gd name="connsiteX24" fmla="*/ 47625 w 299656"/>
                <a:gd name="connsiteY24" fmla="*/ 857 h 417766"/>
                <a:gd name="connsiteX25" fmla="*/ 46196 w 299656"/>
                <a:gd name="connsiteY25" fmla="*/ 1143 h 417766"/>
                <a:gd name="connsiteX26" fmla="*/ 46196 w 299656"/>
                <a:gd name="connsiteY26" fmla="*/ 1143 h 417766"/>
                <a:gd name="connsiteX27" fmla="*/ 44768 w 299656"/>
                <a:gd name="connsiteY27" fmla="*/ 1429 h 417766"/>
                <a:gd name="connsiteX28" fmla="*/ 44768 w 299656"/>
                <a:gd name="connsiteY28" fmla="*/ 1429 h 417766"/>
                <a:gd name="connsiteX29" fmla="*/ 43339 w 299656"/>
                <a:gd name="connsiteY29" fmla="*/ 1809 h 417766"/>
                <a:gd name="connsiteX30" fmla="*/ 43339 w 299656"/>
                <a:gd name="connsiteY30" fmla="*/ 1809 h 417766"/>
                <a:gd name="connsiteX31" fmla="*/ 42005 w 299656"/>
                <a:gd name="connsiteY31" fmla="*/ 2191 h 417766"/>
                <a:gd name="connsiteX32" fmla="*/ 42005 w 299656"/>
                <a:gd name="connsiteY32" fmla="*/ 2191 h 417766"/>
                <a:gd name="connsiteX33" fmla="*/ 40672 w 299656"/>
                <a:gd name="connsiteY33" fmla="*/ 2572 h 417766"/>
                <a:gd name="connsiteX34" fmla="*/ 40672 w 299656"/>
                <a:gd name="connsiteY34" fmla="*/ 2572 h 417766"/>
                <a:gd name="connsiteX35" fmla="*/ 39338 w 299656"/>
                <a:gd name="connsiteY35" fmla="*/ 3048 h 417766"/>
                <a:gd name="connsiteX36" fmla="*/ 39338 w 299656"/>
                <a:gd name="connsiteY36" fmla="*/ 3048 h 417766"/>
                <a:gd name="connsiteX37" fmla="*/ 38005 w 299656"/>
                <a:gd name="connsiteY37" fmla="*/ 3524 h 417766"/>
                <a:gd name="connsiteX38" fmla="*/ 38005 w 299656"/>
                <a:gd name="connsiteY38" fmla="*/ 3524 h 417766"/>
                <a:gd name="connsiteX39" fmla="*/ 36671 w 299656"/>
                <a:gd name="connsiteY39" fmla="*/ 4000 h 417766"/>
                <a:gd name="connsiteX40" fmla="*/ 36671 w 299656"/>
                <a:gd name="connsiteY40" fmla="*/ 4000 h 417766"/>
                <a:gd name="connsiteX41" fmla="*/ 35338 w 299656"/>
                <a:gd name="connsiteY41" fmla="*/ 4572 h 417766"/>
                <a:gd name="connsiteX42" fmla="*/ 35338 w 299656"/>
                <a:gd name="connsiteY42" fmla="*/ 4572 h 417766"/>
                <a:gd name="connsiteX43" fmla="*/ 34099 w 299656"/>
                <a:gd name="connsiteY43" fmla="*/ 5143 h 417766"/>
                <a:gd name="connsiteX44" fmla="*/ 34099 w 299656"/>
                <a:gd name="connsiteY44" fmla="*/ 5143 h 417766"/>
                <a:gd name="connsiteX45" fmla="*/ 32861 w 299656"/>
                <a:gd name="connsiteY45" fmla="*/ 5715 h 417766"/>
                <a:gd name="connsiteX46" fmla="*/ 32861 w 299656"/>
                <a:gd name="connsiteY46" fmla="*/ 5715 h 417766"/>
                <a:gd name="connsiteX47" fmla="*/ 31623 w 299656"/>
                <a:gd name="connsiteY47" fmla="*/ 6382 h 417766"/>
                <a:gd name="connsiteX48" fmla="*/ 31623 w 299656"/>
                <a:gd name="connsiteY48" fmla="*/ 6382 h 417766"/>
                <a:gd name="connsiteX49" fmla="*/ 30385 w 299656"/>
                <a:gd name="connsiteY49" fmla="*/ 7048 h 417766"/>
                <a:gd name="connsiteX50" fmla="*/ 30385 w 299656"/>
                <a:gd name="connsiteY50" fmla="*/ 7048 h 417766"/>
                <a:gd name="connsiteX51" fmla="*/ 29146 w 299656"/>
                <a:gd name="connsiteY51" fmla="*/ 7715 h 417766"/>
                <a:gd name="connsiteX52" fmla="*/ 29146 w 299656"/>
                <a:gd name="connsiteY52" fmla="*/ 7715 h 417766"/>
                <a:gd name="connsiteX53" fmla="*/ 27908 w 299656"/>
                <a:gd name="connsiteY53" fmla="*/ 8382 h 417766"/>
                <a:gd name="connsiteX54" fmla="*/ 27908 w 299656"/>
                <a:gd name="connsiteY54" fmla="*/ 8382 h 417766"/>
                <a:gd name="connsiteX55" fmla="*/ 26765 w 299656"/>
                <a:gd name="connsiteY55" fmla="*/ 9144 h 417766"/>
                <a:gd name="connsiteX56" fmla="*/ 26765 w 299656"/>
                <a:gd name="connsiteY56" fmla="*/ 9144 h 417766"/>
                <a:gd name="connsiteX57" fmla="*/ 25622 w 299656"/>
                <a:gd name="connsiteY57" fmla="*/ 9906 h 417766"/>
                <a:gd name="connsiteX58" fmla="*/ 25622 w 299656"/>
                <a:gd name="connsiteY58" fmla="*/ 9906 h 417766"/>
                <a:gd name="connsiteX59" fmla="*/ 24479 w 299656"/>
                <a:gd name="connsiteY59" fmla="*/ 10668 h 417766"/>
                <a:gd name="connsiteX60" fmla="*/ 24479 w 299656"/>
                <a:gd name="connsiteY60" fmla="*/ 10668 h 417766"/>
                <a:gd name="connsiteX61" fmla="*/ 23336 w 299656"/>
                <a:gd name="connsiteY61" fmla="*/ 11525 h 417766"/>
                <a:gd name="connsiteX62" fmla="*/ 23336 w 299656"/>
                <a:gd name="connsiteY62" fmla="*/ 11525 h 417766"/>
                <a:gd name="connsiteX63" fmla="*/ 22193 w 299656"/>
                <a:gd name="connsiteY63" fmla="*/ 12382 h 417766"/>
                <a:gd name="connsiteX64" fmla="*/ 22193 w 299656"/>
                <a:gd name="connsiteY64" fmla="*/ 12382 h 417766"/>
                <a:gd name="connsiteX65" fmla="*/ 21146 w 299656"/>
                <a:gd name="connsiteY65" fmla="*/ 13240 h 417766"/>
                <a:gd name="connsiteX66" fmla="*/ 21146 w 299656"/>
                <a:gd name="connsiteY66" fmla="*/ 13240 h 417766"/>
                <a:gd name="connsiteX67" fmla="*/ 20098 w 299656"/>
                <a:gd name="connsiteY67" fmla="*/ 14097 h 417766"/>
                <a:gd name="connsiteX68" fmla="*/ 20098 w 299656"/>
                <a:gd name="connsiteY68" fmla="*/ 14097 h 417766"/>
                <a:gd name="connsiteX69" fmla="*/ 19050 w 299656"/>
                <a:gd name="connsiteY69" fmla="*/ 15049 h 417766"/>
                <a:gd name="connsiteX70" fmla="*/ 19050 w 299656"/>
                <a:gd name="connsiteY70" fmla="*/ 15049 h 417766"/>
                <a:gd name="connsiteX71" fmla="*/ 18002 w 299656"/>
                <a:gd name="connsiteY71" fmla="*/ 16002 h 417766"/>
                <a:gd name="connsiteX72" fmla="*/ 18002 w 299656"/>
                <a:gd name="connsiteY72" fmla="*/ 16002 h 417766"/>
                <a:gd name="connsiteX73" fmla="*/ 17050 w 299656"/>
                <a:gd name="connsiteY73" fmla="*/ 16954 h 417766"/>
                <a:gd name="connsiteX74" fmla="*/ 17050 w 299656"/>
                <a:gd name="connsiteY74" fmla="*/ 16954 h 417766"/>
                <a:gd name="connsiteX75" fmla="*/ 16097 w 299656"/>
                <a:gd name="connsiteY75" fmla="*/ 17907 h 417766"/>
                <a:gd name="connsiteX76" fmla="*/ 16097 w 299656"/>
                <a:gd name="connsiteY76" fmla="*/ 17907 h 417766"/>
                <a:gd name="connsiteX77" fmla="*/ 15145 w 299656"/>
                <a:gd name="connsiteY77" fmla="*/ 18955 h 417766"/>
                <a:gd name="connsiteX78" fmla="*/ 15145 w 299656"/>
                <a:gd name="connsiteY78" fmla="*/ 18955 h 417766"/>
                <a:gd name="connsiteX79" fmla="*/ 14192 w 299656"/>
                <a:gd name="connsiteY79" fmla="*/ 20002 h 417766"/>
                <a:gd name="connsiteX80" fmla="*/ 14192 w 299656"/>
                <a:gd name="connsiteY80" fmla="*/ 20002 h 417766"/>
                <a:gd name="connsiteX81" fmla="*/ 13335 w 299656"/>
                <a:gd name="connsiteY81" fmla="*/ 21050 h 417766"/>
                <a:gd name="connsiteX82" fmla="*/ 13335 w 299656"/>
                <a:gd name="connsiteY82" fmla="*/ 21050 h 417766"/>
                <a:gd name="connsiteX83" fmla="*/ 12478 w 299656"/>
                <a:gd name="connsiteY83" fmla="*/ 22098 h 417766"/>
                <a:gd name="connsiteX84" fmla="*/ 12478 w 299656"/>
                <a:gd name="connsiteY84" fmla="*/ 22098 h 417766"/>
                <a:gd name="connsiteX85" fmla="*/ 11621 w 299656"/>
                <a:gd name="connsiteY85" fmla="*/ 23146 h 417766"/>
                <a:gd name="connsiteX86" fmla="*/ 11621 w 299656"/>
                <a:gd name="connsiteY86" fmla="*/ 23146 h 417766"/>
                <a:gd name="connsiteX87" fmla="*/ 10763 w 299656"/>
                <a:gd name="connsiteY87" fmla="*/ 24289 h 417766"/>
                <a:gd name="connsiteX88" fmla="*/ 10763 w 299656"/>
                <a:gd name="connsiteY88" fmla="*/ 24289 h 417766"/>
                <a:gd name="connsiteX89" fmla="*/ 10001 w 299656"/>
                <a:gd name="connsiteY89" fmla="*/ 25432 h 417766"/>
                <a:gd name="connsiteX90" fmla="*/ 10001 w 299656"/>
                <a:gd name="connsiteY90" fmla="*/ 25432 h 417766"/>
                <a:gd name="connsiteX91" fmla="*/ 9239 w 299656"/>
                <a:gd name="connsiteY91" fmla="*/ 26575 h 417766"/>
                <a:gd name="connsiteX92" fmla="*/ 9239 w 299656"/>
                <a:gd name="connsiteY92" fmla="*/ 26575 h 417766"/>
                <a:gd name="connsiteX93" fmla="*/ 8477 w 299656"/>
                <a:gd name="connsiteY93" fmla="*/ 27717 h 417766"/>
                <a:gd name="connsiteX94" fmla="*/ 8477 w 299656"/>
                <a:gd name="connsiteY94" fmla="*/ 27717 h 417766"/>
                <a:gd name="connsiteX95" fmla="*/ 7811 w 299656"/>
                <a:gd name="connsiteY95" fmla="*/ 28956 h 417766"/>
                <a:gd name="connsiteX96" fmla="*/ 7811 w 299656"/>
                <a:gd name="connsiteY96" fmla="*/ 28956 h 417766"/>
                <a:gd name="connsiteX97" fmla="*/ 7144 w 299656"/>
                <a:gd name="connsiteY97" fmla="*/ 30194 h 417766"/>
                <a:gd name="connsiteX98" fmla="*/ 7144 w 299656"/>
                <a:gd name="connsiteY98" fmla="*/ 30194 h 417766"/>
                <a:gd name="connsiteX99" fmla="*/ 6477 w 299656"/>
                <a:gd name="connsiteY99" fmla="*/ 31432 h 417766"/>
                <a:gd name="connsiteX100" fmla="*/ 6477 w 299656"/>
                <a:gd name="connsiteY100" fmla="*/ 31432 h 417766"/>
                <a:gd name="connsiteX101" fmla="*/ 5810 w 299656"/>
                <a:gd name="connsiteY101" fmla="*/ 32671 h 417766"/>
                <a:gd name="connsiteX102" fmla="*/ 5810 w 299656"/>
                <a:gd name="connsiteY102" fmla="*/ 32671 h 417766"/>
                <a:gd name="connsiteX103" fmla="*/ 5239 w 299656"/>
                <a:gd name="connsiteY103" fmla="*/ 33909 h 417766"/>
                <a:gd name="connsiteX104" fmla="*/ 5239 w 299656"/>
                <a:gd name="connsiteY104" fmla="*/ 33909 h 417766"/>
                <a:gd name="connsiteX105" fmla="*/ 4667 w 299656"/>
                <a:gd name="connsiteY105" fmla="*/ 35147 h 417766"/>
                <a:gd name="connsiteX106" fmla="*/ 4667 w 299656"/>
                <a:gd name="connsiteY106" fmla="*/ 35147 h 417766"/>
                <a:gd name="connsiteX107" fmla="*/ 4096 w 299656"/>
                <a:gd name="connsiteY107" fmla="*/ 36481 h 417766"/>
                <a:gd name="connsiteX108" fmla="*/ 4096 w 299656"/>
                <a:gd name="connsiteY108" fmla="*/ 36481 h 417766"/>
                <a:gd name="connsiteX109" fmla="*/ 3620 w 299656"/>
                <a:gd name="connsiteY109" fmla="*/ 37814 h 417766"/>
                <a:gd name="connsiteX110" fmla="*/ 3620 w 299656"/>
                <a:gd name="connsiteY110" fmla="*/ 37814 h 417766"/>
                <a:gd name="connsiteX111" fmla="*/ 3143 w 299656"/>
                <a:gd name="connsiteY111" fmla="*/ 39148 h 417766"/>
                <a:gd name="connsiteX112" fmla="*/ 3143 w 299656"/>
                <a:gd name="connsiteY112" fmla="*/ 39148 h 417766"/>
                <a:gd name="connsiteX113" fmla="*/ 2667 w 299656"/>
                <a:gd name="connsiteY113" fmla="*/ 40481 h 417766"/>
                <a:gd name="connsiteX114" fmla="*/ 2667 w 299656"/>
                <a:gd name="connsiteY114" fmla="*/ 40481 h 417766"/>
                <a:gd name="connsiteX115" fmla="*/ 2286 w 299656"/>
                <a:gd name="connsiteY115" fmla="*/ 41815 h 417766"/>
                <a:gd name="connsiteX116" fmla="*/ 2286 w 299656"/>
                <a:gd name="connsiteY116" fmla="*/ 41815 h 417766"/>
                <a:gd name="connsiteX117" fmla="*/ 1905 w 299656"/>
                <a:gd name="connsiteY117" fmla="*/ 43148 h 417766"/>
                <a:gd name="connsiteX118" fmla="*/ 1905 w 299656"/>
                <a:gd name="connsiteY118" fmla="*/ 43148 h 417766"/>
                <a:gd name="connsiteX119" fmla="*/ 1524 w 299656"/>
                <a:gd name="connsiteY119" fmla="*/ 44482 h 417766"/>
                <a:gd name="connsiteX120" fmla="*/ 1524 w 299656"/>
                <a:gd name="connsiteY120" fmla="*/ 44482 h 417766"/>
                <a:gd name="connsiteX121" fmla="*/ 1238 w 299656"/>
                <a:gd name="connsiteY121" fmla="*/ 45910 h 417766"/>
                <a:gd name="connsiteX122" fmla="*/ 1238 w 299656"/>
                <a:gd name="connsiteY122" fmla="*/ 45910 h 417766"/>
                <a:gd name="connsiteX123" fmla="*/ 953 w 299656"/>
                <a:gd name="connsiteY123" fmla="*/ 47339 h 417766"/>
                <a:gd name="connsiteX124" fmla="*/ 953 w 299656"/>
                <a:gd name="connsiteY124" fmla="*/ 47339 h 417766"/>
                <a:gd name="connsiteX125" fmla="*/ 667 w 299656"/>
                <a:gd name="connsiteY125" fmla="*/ 48768 h 417766"/>
                <a:gd name="connsiteX126" fmla="*/ 667 w 299656"/>
                <a:gd name="connsiteY126" fmla="*/ 48768 h 417766"/>
                <a:gd name="connsiteX127" fmla="*/ 476 w 299656"/>
                <a:gd name="connsiteY127" fmla="*/ 50197 h 417766"/>
                <a:gd name="connsiteX128" fmla="*/ 476 w 299656"/>
                <a:gd name="connsiteY128" fmla="*/ 50197 h 417766"/>
                <a:gd name="connsiteX129" fmla="*/ 286 w 299656"/>
                <a:gd name="connsiteY129" fmla="*/ 51625 h 417766"/>
                <a:gd name="connsiteX130" fmla="*/ 286 w 299656"/>
                <a:gd name="connsiteY130" fmla="*/ 51625 h 417766"/>
                <a:gd name="connsiteX131" fmla="*/ 190 w 299656"/>
                <a:gd name="connsiteY131" fmla="*/ 53054 h 417766"/>
                <a:gd name="connsiteX132" fmla="*/ 190 w 299656"/>
                <a:gd name="connsiteY132" fmla="*/ 53054 h 417766"/>
                <a:gd name="connsiteX133" fmla="*/ 95 w 299656"/>
                <a:gd name="connsiteY133" fmla="*/ 54483 h 417766"/>
                <a:gd name="connsiteX134" fmla="*/ 95 w 299656"/>
                <a:gd name="connsiteY134" fmla="*/ 54483 h 417766"/>
                <a:gd name="connsiteX135" fmla="*/ 95 w 299656"/>
                <a:gd name="connsiteY135" fmla="*/ 54959 h 417766"/>
                <a:gd name="connsiteX136" fmla="*/ 0 w 299656"/>
                <a:gd name="connsiteY136" fmla="*/ 56864 h 417766"/>
                <a:gd name="connsiteX137" fmla="*/ 0 w 299656"/>
                <a:gd name="connsiteY137" fmla="*/ 57340 h 417766"/>
                <a:gd name="connsiteX138" fmla="*/ 0 w 299656"/>
                <a:gd name="connsiteY138" fmla="*/ 57340 h 417766"/>
                <a:gd name="connsiteX139" fmla="*/ 0 w 299656"/>
                <a:gd name="connsiteY139" fmla="*/ 77343 h 417766"/>
                <a:gd name="connsiteX140" fmla="*/ 0 w 299656"/>
                <a:gd name="connsiteY140" fmla="*/ 359855 h 417766"/>
                <a:gd name="connsiteX141" fmla="*/ 57626 w 299656"/>
                <a:gd name="connsiteY141" fmla="*/ 417767 h 417766"/>
                <a:gd name="connsiteX142" fmla="*/ 57626 w 299656"/>
                <a:gd name="connsiteY142" fmla="*/ 417767 h 417766"/>
                <a:gd name="connsiteX143" fmla="*/ 57626 w 299656"/>
                <a:gd name="connsiteY143" fmla="*/ 0 h 417766"/>
                <a:gd name="connsiteX144" fmla="*/ 57626 w 299656"/>
                <a:gd name="connsiteY144" fmla="*/ 0 h 417766"/>
                <a:gd name="connsiteX145" fmla="*/ 57626 w 299656"/>
                <a:gd name="connsiteY145" fmla="*/ 0 h 41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299656" h="417766">
                  <a:moveTo>
                    <a:pt x="57626" y="417767"/>
                  </a:moveTo>
                  <a:lnTo>
                    <a:pt x="77629" y="417767"/>
                  </a:lnTo>
                  <a:cubicBezTo>
                    <a:pt x="109347" y="417767"/>
                    <a:pt x="135255" y="391858"/>
                    <a:pt x="135255" y="360140"/>
                  </a:cubicBezTo>
                  <a:lnTo>
                    <a:pt x="135255" y="216217"/>
                  </a:lnTo>
                  <a:cubicBezTo>
                    <a:pt x="135255" y="171640"/>
                    <a:pt x="171640" y="135255"/>
                    <a:pt x="216218" y="135255"/>
                  </a:cubicBezTo>
                  <a:lnTo>
                    <a:pt x="242030" y="135255"/>
                  </a:lnTo>
                  <a:cubicBezTo>
                    <a:pt x="273748" y="135255"/>
                    <a:pt x="299656" y="109347"/>
                    <a:pt x="299656" y="77629"/>
                  </a:cubicBezTo>
                  <a:lnTo>
                    <a:pt x="299656" y="57626"/>
                  </a:lnTo>
                  <a:cubicBezTo>
                    <a:pt x="299656" y="25908"/>
                    <a:pt x="273748" y="0"/>
                    <a:pt x="242030" y="0"/>
                  </a:cubicBezTo>
                  <a:lnTo>
                    <a:pt x="77629" y="0"/>
                  </a:lnTo>
                  <a:lnTo>
                    <a:pt x="57626" y="0"/>
                  </a:lnTo>
                  <a:lnTo>
                    <a:pt x="56197" y="0"/>
                  </a:lnTo>
                  <a:lnTo>
                    <a:pt x="56197" y="0"/>
                  </a:lnTo>
                  <a:lnTo>
                    <a:pt x="54769" y="95"/>
                  </a:lnTo>
                  <a:lnTo>
                    <a:pt x="54769" y="95"/>
                  </a:lnTo>
                  <a:lnTo>
                    <a:pt x="53340" y="190"/>
                  </a:lnTo>
                  <a:lnTo>
                    <a:pt x="53340" y="190"/>
                  </a:lnTo>
                  <a:lnTo>
                    <a:pt x="51911" y="286"/>
                  </a:lnTo>
                  <a:lnTo>
                    <a:pt x="51911" y="286"/>
                  </a:lnTo>
                  <a:lnTo>
                    <a:pt x="50482" y="476"/>
                  </a:lnTo>
                  <a:lnTo>
                    <a:pt x="50482" y="476"/>
                  </a:lnTo>
                  <a:lnTo>
                    <a:pt x="49054" y="667"/>
                  </a:lnTo>
                  <a:lnTo>
                    <a:pt x="49054" y="667"/>
                  </a:lnTo>
                  <a:lnTo>
                    <a:pt x="47625" y="857"/>
                  </a:lnTo>
                  <a:lnTo>
                    <a:pt x="47625" y="857"/>
                  </a:lnTo>
                  <a:cubicBezTo>
                    <a:pt x="47149" y="952"/>
                    <a:pt x="46672" y="1048"/>
                    <a:pt x="46196" y="1143"/>
                  </a:cubicBezTo>
                  <a:lnTo>
                    <a:pt x="46196" y="1143"/>
                  </a:lnTo>
                  <a:lnTo>
                    <a:pt x="44768" y="1429"/>
                  </a:lnTo>
                  <a:lnTo>
                    <a:pt x="44768" y="1429"/>
                  </a:lnTo>
                  <a:lnTo>
                    <a:pt x="43339" y="1809"/>
                  </a:lnTo>
                  <a:lnTo>
                    <a:pt x="43339" y="1809"/>
                  </a:lnTo>
                  <a:lnTo>
                    <a:pt x="42005" y="2191"/>
                  </a:lnTo>
                  <a:lnTo>
                    <a:pt x="42005" y="2191"/>
                  </a:lnTo>
                  <a:lnTo>
                    <a:pt x="40672" y="2572"/>
                  </a:lnTo>
                  <a:lnTo>
                    <a:pt x="40672" y="2572"/>
                  </a:lnTo>
                  <a:lnTo>
                    <a:pt x="39338" y="3048"/>
                  </a:lnTo>
                  <a:lnTo>
                    <a:pt x="39338" y="3048"/>
                  </a:lnTo>
                  <a:lnTo>
                    <a:pt x="38005" y="3524"/>
                  </a:lnTo>
                  <a:lnTo>
                    <a:pt x="38005" y="3524"/>
                  </a:lnTo>
                  <a:lnTo>
                    <a:pt x="36671" y="4000"/>
                  </a:lnTo>
                  <a:lnTo>
                    <a:pt x="36671" y="4000"/>
                  </a:lnTo>
                  <a:lnTo>
                    <a:pt x="35338" y="4572"/>
                  </a:lnTo>
                  <a:lnTo>
                    <a:pt x="35338" y="4572"/>
                  </a:lnTo>
                  <a:lnTo>
                    <a:pt x="34099" y="5143"/>
                  </a:lnTo>
                  <a:lnTo>
                    <a:pt x="34099" y="5143"/>
                  </a:lnTo>
                  <a:lnTo>
                    <a:pt x="32861" y="5715"/>
                  </a:lnTo>
                  <a:lnTo>
                    <a:pt x="32861" y="5715"/>
                  </a:lnTo>
                  <a:lnTo>
                    <a:pt x="31623" y="6382"/>
                  </a:lnTo>
                  <a:lnTo>
                    <a:pt x="31623" y="6382"/>
                  </a:lnTo>
                  <a:cubicBezTo>
                    <a:pt x="31242" y="6572"/>
                    <a:pt x="30766" y="6763"/>
                    <a:pt x="30385" y="7048"/>
                  </a:cubicBezTo>
                  <a:lnTo>
                    <a:pt x="30385" y="7048"/>
                  </a:lnTo>
                  <a:lnTo>
                    <a:pt x="29146" y="7715"/>
                  </a:lnTo>
                  <a:lnTo>
                    <a:pt x="29146" y="7715"/>
                  </a:lnTo>
                  <a:cubicBezTo>
                    <a:pt x="28765" y="7906"/>
                    <a:pt x="28385" y="8191"/>
                    <a:pt x="27908" y="8382"/>
                  </a:cubicBezTo>
                  <a:lnTo>
                    <a:pt x="27908" y="8382"/>
                  </a:lnTo>
                  <a:lnTo>
                    <a:pt x="26765" y="9144"/>
                  </a:lnTo>
                  <a:lnTo>
                    <a:pt x="26765" y="9144"/>
                  </a:lnTo>
                  <a:lnTo>
                    <a:pt x="25622" y="9906"/>
                  </a:lnTo>
                  <a:lnTo>
                    <a:pt x="25622" y="9906"/>
                  </a:lnTo>
                  <a:lnTo>
                    <a:pt x="24479" y="10668"/>
                  </a:lnTo>
                  <a:lnTo>
                    <a:pt x="24479" y="10668"/>
                  </a:lnTo>
                  <a:lnTo>
                    <a:pt x="23336" y="11525"/>
                  </a:lnTo>
                  <a:lnTo>
                    <a:pt x="23336" y="11525"/>
                  </a:lnTo>
                  <a:lnTo>
                    <a:pt x="22193" y="12382"/>
                  </a:lnTo>
                  <a:lnTo>
                    <a:pt x="22193" y="12382"/>
                  </a:lnTo>
                  <a:cubicBezTo>
                    <a:pt x="21812" y="12668"/>
                    <a:pt x="21431" y="12954"/>
                    <a:pt x="21146" y="13240"/>
                  </a:cubicBezTo>
                  <a:lnTo>
                    <a:pt x="21146" y="13240"/>
                  </a:lnTo>
                  <a:lnTo>
                    <a:pt x="20098" y="14097"/>
                  </a:lnTo>
                  <a:lnTo>
                    <a:pt x="20098" y="14097"/>
                  </a:lnTo>
                  <a:lnTo>
                    <a:pt x="19050" y="15049"/>
                  </a:lnTo>
                  <a:lnTo>
                    <a:pt x="19050" y="15049"/>
                  </a:lnTo>
                  <a:lnTo>
                    <a:pt x="18002" y="16002"/>
                  </a:lnTo>
                  <a:lnTo>
                    <a:pt x="18002" y="16002"/>
                  </a:lnTo>
                  <a:lnTo>
                    <a:pt x="17050" y="16954"/>
                  </a:lnTo>
                  <a:lnTo>
                    <a:pt x="17050" y="16954"/>
                  </a:lnTo>
                  <a:lnTo>
                    <a:pt x="16097" y="17907"/>
                  </a:lnTo>
                  <a:lnTo>
                    <a:pt x="16097" y="17907"/>
                  </a:lnTo>
                  <a:lnTo>
                    <a:pt x="15145" y="18955"/>
                  </a:lnTo>
                  <a:lnTo>
                    <a:pt x="15145" y="18955"/>
                  </a:lnTo>
                  <a:lnTo>
                    <a:pt x="14192" y="20002"/>
                  </a:lnTo>
                  <a:lnTo>
                    <a:pt x="14192" y="20002"/>
                  </a:lnTo>
                  <a:lnTo>
                    <a:pt x="13335" y="21050"/>
                  </a:lnTo>
                  <a:lnTo>
                    <a:pt x="13335" y="21050"/>
                  </a:lnTo>
                  <a:cubicBezTo>
                    <a:pt x="13049" y="21431"/>
                    <a:pt x="12763" y="21812"/>
                    <a:pt x="12478" y="22098"/>
                  </a:cubicBezTo>
                  <a:lnTo>
                    <a:pt x="12478" y="22098"/>
                  </a:lnTo>
                  <a:cubicBezTo>
                    <a:pt x="12192" y="22479"/>
                    <a:pt x="11906" y="22860"/>
                    <a:pt x="11621" y="23146"/>
                  </a:cubicBezTo>
                  <a:lnTo>
                    <a:pt x="11621" y="23146"/>
                  </a:lnTo>
                  <a:lnTo>
                    <a:pt x="10763" y="24289"/>
                  </a:lnTo>
                  <a:lnTo>
                    <a:pt x="10763" y="24289"/>
                  </a:lnTo>
                  <a:lnTo>
                    <a:pt x="10001" y="25432"/>
                  </a:lnTo>
                  <a:lnTo>
                    <a:pt x="10001" y="25432"/>
                  </a:lnTo>
                  <a:lnTo>
                    <a:pt x="9239" y="26575"/>
                  </a:lnTo>
                  <a:lnTo>
                    <a:pt x="9239" y="26575"/>
                  </a:lnTo>
                  <a:lnTo>
                    <a:pt x="8477" y="27717"/>
                  </a:lnTo>
                  <a:lnTo>
                    <a:pt x="8477" y="27717"/>
                  </a:lnTo>
                  <a:lnTo>
                    <a:pt x="7811" y="28956"/>
                  </a:lnTo>
                  <a:lnTo>
                    <a:pt x="7811" y="28956"/>
                  </a:lnTo>
                  <a:lnTo>
                    <a:pt x="7144" y="30194"/>
                  </a:lnTo>
                  <a:lnTo>
                    <a:pt x="7144" y="30194"/>
                  </a:lnTo>
                  <a:lnTo>
                    <a:pt x="6477" y="31432"/>
                  </a:lnTo>
                  <a:lnTo>
                    <a:pt x="6477" y="31432"/>
                  </a:lnTo>
                  <a:lnTo>
                    <a:pt x="5810" y="32671"/>
                  </a:lnTo>
                  <a:lnTo>
                    <a:pt x="5810" y="32671"/>
                  </a:lnTo>
                  <a:lnTo>
                    <a:pt x="5239" y="33909"/>
                  </a:lnTo>
                  <a:lnTo>
                    <a:pt x="5239" y="33909"/>
                  </a:lnTo>
                  <a:cubicBezTo>
                    <a:pt x="5048" y="34290"/>
                    <a:pt x="4858" y="34766"/>
                    <a:pt x="4667" y="35147"/>
                  </a:cubicBezTo>
                  <a:lnTo>
                    <a:pt x="4667" y="35147"/>
                  </a:lnTo>
                  <a:lnTo>
                    <a:pt x="4096" y="36481"/>
                  </a:lnTo>
                  <a:lnTo>
                    <a:pt x="4096" y="36481"/>
                  </a:lnTo>
                  <a:lnTo>
                    <a:pt x="3620" y="37814"/>
                  </a:lnTo>
                  <a:lnTo>
                    <a:pt x="3620" y="37814"/>
                  </a:lnTo>
                  <a:lnTo>
                    <a:pt x="3143" y="39148"/>
                  </a:lnTo>
                  <a:lnTo>
                    <a:pt x="3143" y="39148"/>
                  </a:lnTo>
                  <a:lnTo>
                    <a:pt x="2667" y="40481"/>
                  </a:lnTo>
                  <a:lnTo>
                    <a:pt x="2667" y="40481"/>
                  </a:lnTo>
                  <a:lnTo>
                    <a:pt x="2286" y="41815"/>
                  </a:lnTo>
                  <a:lnTo>
                    <a:pt x="2286" y="41815"/>
                  </a:lnTo>
                  <a:lnTo>
                    <a:pt x="1905" y="43148"/>
                  </a:lnTo>
                  <a:lnTo>
                    <a:pt x="1905" y="43148"/>
                  </a:lnTo>
                  <a:lnTo>
                    <a:pt x="1524" y="44482"/>
                  </a:lnTo>
                  <a:lnTo>
                    <a:pt x="1524" y="44482"/>
                  </a:lnTo>
                  <a:lnTo>
                    <a:pt x="1238" y="45910"/>
                  </a:lnTo>
                  <a:lnTo>
                    <a:pt x="1238" y="45910"/>
                  </a:lnTo>
                  <a:cubicBezTo>
                    <a:pt x="1143" y="46387"/>
                    <a:pt x="1048" y="46863"/>
                    <a:pt x="953" y="47339"/>
                  </a:cubicBezTo>
                  <a:lnTo>
                    <a:pt x="953" y="47339"/>
                  </a:lnTo>
                  <a:lnTo>
                    <a:pt x="667" y="48768"/>
                  </a:lnTo>
                  <a:lnTo>
                    <a:pt x="667" y="48768"/>
                  </a:lnTo>
                  <a:lnTo>
                    <a:pt x="476" y="50197"/>
                  </a:lnTo>
                  <a:lnTo>
                    <a:pt x="476" y="50197"/>
                  </a:lnTo>
                  <a:lnTo>
                    <a:pt x="286" y="51625"/>
                  </a:lnTo>
                  <a:lnTo>
                    <a:pt x="286" y="51625"/>
                  </a:lnTo>
                  <a:lnTo>
                    <a:pt x="190" y="53054"/>
                  </a:lnTo>
                  <a:lnTo>
                    <a:pt x="190" y="53054"/>
                  </a:lnTo>
                  <a:lnTo>
                    <a:pt x="95" y="54483"/>
                  </a:lnTo>
                  <a:lnTo>
                    <a:pt x="95" y="54483"/>
                  </a:lnTo>
                  <a:lnTo>
                    <a:pt x="95" y="54959"/>
                  </a:lnTo>
                  <a:cubicBezTo>
                    <a:pt x="95" y="55626"/>
                    <a:pt x="95" y="56197"/>
                    <a:pt x="0" y="56864"/>
                  </a:cubicBezTo>
                  <a:lnTo>
                    <a:pt x="0" y="57340"/>
                  </a:lnTo>
                  <a:lnTo>
                    <a:pt x="0" y="57340"/>
                  </a:lnTo>
                  <a:lnTo>
                    <a:pt x="0" y="77343"/>
                  </a:lnTo>
                  <a:lnTo>
                    <a:pt x="0" y="359855"/>
                  </a:lnTo>
                  <a:cubicBezTo>
                    <a:pt x="0" y="391858"/>
                    <a:pt x="25908" y="417767"/>
                    <a:pt x="57626" y="417767"/>
                  </a:cubicBezTo>
                  <a:lnTo>
                    <a:pt x="57626" y="417767"/>
                  </a:lnTo>
                  <a:close/>
                  <a:moveTo>
                    <a:pt x="57626" y="0"/>
                  </a:moveTo>
                  <a:lnTo>
                    <a:pt x="57626" y="0"/>
                  </a:lnTo>
                  <a:lnTo>
                    <a:pt x="57626"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7" name="Freeform: Shape 186">
              <a:extLst>
                <a:ext uri="{FF2B5EF4-FFF2-40B4-BE49-F238E27FC236}">
                  <a16:creationId xmlns:a16="http://schemas.microsoft.com/office/drawing/2014/main" id="{37F892D6-1BA7-43F9-A999-76BCDBE7D53A}"/>
                </a:ext>
              </a:extLst>
            </p:cNvPr>
            <p:cNvSpPr/>
            <p:nvPr/>
          </p:nvSpPr>
          <p:spPr>
            <a:xfrm>
              <a:off x="75454" y="4553410"/>
              <a:ext cx="628078" cy="867822"/>
            </a:xfrm>
            <a:custGeom>
              <a:avLst/>
              <a:gdLst>
                <a:gd name="connsiteX0" fmla="*/ 550069 w 628078"/>
                <a:gd name="connsiteY0" fmla="*/ 300609 h 867822"/>
                <a:gd name="connsiteX1" fmla="*/ 570452 w 628078"/>
                <a:gd name="connsiteY1" fmla="*/ 300609 h 867822"/>
                <a:gd name="connsiteX2" fmla="*/ 628079 w 628078"/>
                <a:gd name="connsiteY2" fmla="*/ 242983 h 867822"/>
                <a:gd name="connsiteX3" fmla="*/ 628079 w 628078"/>
                <a:gd name="connsiteY3" fmla="*/ 57626 h 867822"/>
                <a:gd name="connsiteX4" fmla="*/ 570452 w 628078"/>
                <a:gd name="connsiteY4" fmla="*/ 0 h 867822"/>
                <a:gd name="connsiteX5" fmla="*/ 216599 w 628078"/>
                <a:gd name="connsiteY5" fmla="*/ 0 h 867822"/>
                <a:gd name="connsiteX6" fmla="*/ 158972 w 628078"/>
                <a:gd name="connsiteY6" fmla="*/ 857 h 867822"/>
                <a:gd name="connsiteX7" fmla="*/ 158972 w 628078"/>
                <a:gd name="connsiteY7" fmla="*/ 212884 h 867822"/>
                <a:gd name="connsiteX8" fmla="*/ 78010 w 628078"/>
                <a:gd name="connsiteY8" fmla="*/ 293846 h 867822"/>
                <a:gd name="connsiteX9" fmla="*/ 57626 w 628078"/>
                <a:gd name="connsiteY9" fmla="*/ 293846 h 867822"/>
                <a:gd name="connsiteX10" fmla="*/ 0 w 628078"/>
                <a:gd name="connsiteY10" fmla="*/ 352901 h 867822"/>
                <a:gd name="connsiteX11" fmla="*/ 0 w 628078"/>
                <a:gd name="connsiteY11" fmla="*/ 464153 h 867822"/>
                <a:gd name="connsiteX12" fmla="*/ 0 w 628078"/>
                <a:gd name="connsiteY12" fmla="*/ 520351 h 867822"/>
                <a:gd name="connsiteX13" fmla="*/ 0 w 628078"/>
                <a:gd name="connsiteY13" fmla="*/ 810197 h 867822"/>
                <a:gd name="connsiteX14" fmla="*/ 57626 w 628078"/>
                <a:gd name="connsiteY14" fmla="*/ 867823 h 867822"/>
                <a:gd name="connsiteX15" fmla="*/ 252413 w 628078"/>
                <a:gd name="connsiteY15" fmla="*/ 867823 h 867822"/>
                <a:gd name="connsiteX16" fmla="*/ 310039 w 628078"/>
                <a:gd name="connsiteY16" fmla="*/ 866965 h 867822"/>
                <a:gd name="connsiteX17" fmla="*/ 310039 w 628078"/>
                <a:gd name="connsiteY17" fmla="*/ 660559 h 867822"/>
                <a:gd name="connsiteX18" fmla="*/ 391001 w 628078"/>
                <a:gd name="connsiteY18" fmla="*/ 579596 h 867822"/>
                <a:gd name="connsiteX19" fmla="*/ 411385 w 628078"/>
                <a:gd name="connsiteY19" fmla="*/ 579596 h 867822"/>
                <a:gd name="connsiteX20" fmla="*/ 469011 w 628078"/>
                <a:gd name="connsiteY20" fmla="*/ 520541 h 867822"/>
                <a:gd name="connsiteX21" fmla="*/ 469011 w 628078"/>
                <a:gd name="connsiteY21" fmla="*/ 381667 h 867822"/>
                <a:gd name="connsiteX22" fmla="*/ 550069 w 628078"/>
                <a:gd name="connsiteY22" fmla="*/ 300609 h 867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8078" h="867822">
                  <a:moveTo>
                    <a:pt x="550069" y="300609"/>
                  </a:moveTo>
                  <a:lnTo>
                    <a:pt x="570452" y="300609"/>
                  </a:lnTo>
                  <a:cubicBezTo>
                    <a:pt x="602171" y="300609"/>
                    <a:pt x="628079" y="274701"/>
                    <a:pt x="628079" y="242983"/>
                  </a:cubicBezTo>
                  <a:lnTo>
                    <a:pt x="628079" y="57626"/>
                  </a:lnTo>
                  <a:cubicBezTo>
                    <a:pt x="628079" y="25908"/>
                    <a:pt x="602171" y="0"/>
                    <a:pt x="570452" y="0"/>
                  </a:cubicBezTo>
                  <a:lnTo>
                    <a:pt x="216599" y="0"/>
                  </a:lnTo>
                  <a:lnTo>
                    <a:pt x="158972" y="857"/>
                  </a:lnTo>
                  <a:lnTo>
                    <a:pt x="158972" y="212884"/>
                  </a:lnTo>
                  <a:cubicBezTo>
                    <a:pt x="158972" y="257461"/>
                    <a:pt x="122587" y="293846"/>
                    <a:pt x="78010" y="293846"/>
                  </a:cubicBezTo>
                  <a:lnTo>
                    <a:pt x="57626" y="293846"/>
                  </a:lnTo>
                  <a:cubicBezTo>
                    <a:pt x="25908" y="293846"/>
                    <a:pt x="0" y="320421"/>
                    <a:pt x="0" y="352901"/>
                  </a:cubicBezTo>
                  <a:lnTo>
                    <a:pt x="0" y="464153"/>
                  </a:lnTo>
                  <a:lnTo>
                    <a:pt x="0" y="520351"/>
                  </a:lnTo>
                  <a:lnTo>
                    <a:pt x="0" y="810197"/>
                  </a:lnTo>
                  <a:cubicBezTo>
                    <a:pt x="0" y="841915"/>
                    <a:pt x="25908" y="867823"/>
                    <a:pt x="57626" y="867823"/>
                  </a:cubicBezTo>
                  <a:lnTo>
                    <a:pt x="252413" y="867823"/>
                  </a:lnTo>
                  <a:lnTo>
                    <a:pt x="310039" y="866965"/>
                  </a:lnTo>
                  <a:lnTo>
                    <a:pt x="310039" y="660559"/>
                  </a:lnTo>
                  <a:cubicBezTo>
                    <a:pt x="310039" y="615982"/>
                    <a:pt x="346424" y="579596"/>
                    <a:pt x="391001" y="579596"/>
                  </a:cubicBezTo>
                  <a:lnTo>
                    <a:pt x="411385" y="579596"/>
                  </a:lnTo>
                  <a:cubicBezTo>
                    <a:pt x="443103" y="579596"/>
                    <a:pt x="469011" y="553022"/>
                    <a:pt x="469011" y="520541"/>
                  </a:cubicBezTo>
                  <a:lnTo>
                    <a:pt x="469011" y="381667"/>
                  </a:lnTo>
                  <a:cubicBezTo>
                    <a:pt x="469011" y="336995"/>
                    <a:pt x="505397" y="300609"/>
                    <a:pt x="550069" y="300609"/>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8" name="Freeform: Shape 187">
              <a:extLst>
                <a:ext uri="{FF2B5EF4-FFF2-40B4-BE49-F238E27FC236}">
                  <a16:creationId xmlns:a16="http://schemas.microsoft.com/office/drawing/2014/main" id="{84BCE80F-83C1-44F5-9FE1-16FA0C5C83C7}"/>
                </a:ext>
              </a:extLst>
            </p:cNvPr>
            <p:cNvSpPr/>
            <p:nvPr/>
          </p:nvSpPr>
          <p:spPr>
            <a:xfrm>
              <a:off x="234712" y="4126976"/>
              <a:ext cx="1892046" cy="1432274"/>
            </a:xfrm>
            <a:custGeom>
              <a:avLst/>
              <a:gdLst>
                <a:gd name="connsiteX0" fmla="*/ 388906 w 1892046"/>
                <a:gd name="connsiteY0" fmla="*/ 1432274 h 1432274"/>
                <a:gd name="connsiteX1" fmla="*/ 542068 w 1892046"/>
                <a:gd name="connsiteY1" fmla="*/ 1432274 h 1432274"/>
                <a:gd name="connsiteX2" fmla="*/ 624364 w 1892046"/>
                <a:gd name="connsiteY2" fmla="*/ 1362266 h 1432274"/>
                <a:gd name="connsiteX3" fmla="*/ 704279 w 1892046"/>
                <a:gd name="connsiteY3" fmla="*/ 1294352 h 1432274"/>
                <a:gd name="connsiteX4" fmla="*/ 1017461 w 1892046"/>
                <a:gd name="connsiteY4" fmla="*/ 1294352 h 1432274"/>
                <a:gd name="connsiteX5" fmla="*/ 1100042 w 1892046"/>
                <a:gd name="connsiteY5" fmla="*/ 1222724 h 1432274"/>
                <a:gd name="connsiteX6" fmla="*/ 1177576 w 1892046"/>
                <a:gd name="connsiteY6" fmla="*/ 1153287 h 1432274"/>
                <a:gd name="connsiteX7" fmla="*/ 1258253 w 1892046"/>
                <a:gd name="connsiteY7" fmla="*/ 1069943 h 1432274"/>
                <a:gd name="connsiteX8" fmla="*/ 1258253 w 1892046"/>
                <a:gd name="connsiteY8" fmla="*/ 796194 h 1432274"/>
                <a:gd name="connsiteX9" fmla="*/ 1337405 w 1892046"/>
                <a:gd name="connsiteY9" fmla="*/ 715232 h 1432274"/>
                <a:gd name="connsiteX10" fmla="*/ 1417701 w 1892046"/>
                <a:gd name="connsiteY10" fmla="*/ 645605 h 1432274"/>
                <a:gd name="connsiteX11" fmla="*/ 1495235 w 1892046"/>
                <a:gd name="connsiteY11" fmla="*/ 578072 h 1432274"/>
                <a:gd name="connsiteX12" fmla="*/ 1576292 w 1892046"/>
                <a:gd name="connsiteY12" fmla="*/ 495681 h 1432274"/>
                <a:gd name="connsiteX13" fmla="*/ 1657255 w 1892046"/>
                <a:gd name="connsiteY13" fmla="*/ 415671 h 1432274"/>
                <a:gd name="connsiteX14" fmla="*/ 1833658 w 1892046"/>
                <a:gd name="connsiteY14" fmla="*/ 415671 h 1432274"/>
                <a:gd name="connsiteX15" fmla="*/ 1892046 w 1892046"/>
                <a:gd name="connsiteY15" fmla="*/ 363188 h 1432274"/>
                <a:gd name="connsiteX16" fmla="*/ 1891951 w 1892046"/>
                <a:gd name="connsiteY16" fmla="*/ 273177 h 1432274"/>
                <a:gd name="connsiteX17" fmla="*/ 1630299 w 1892046"/>
                <a:gd name="connsiteY17" fmla="*/ 273844 h 1432274"/>
                <a:gd name="connsiteX18" fmla="*/ 1572673 w 1892046"/>
                <a:gd name="connsiteY18" fmla="*/ 216217 h 1432274"/>
                <a:gd name="connsiteX19" fmla="*/ 1572673 w 1892046"/>
                <a:gd name="connsiteY19" fmla="*/ 215551 h 1432274"/>
                <a:gd name="connsiteX20" fmla="*/ 1572387 w 1892046"/>
                <a:gd name="connsiteY20" fmla="*/ 215551 h 1432274"/>
                <a:gd name="connsiteX21" fmla="*/ 1572387 w 1892046"/>
                <a:gd name="connsiteY21" fmla="*/ 194691 h 1432274"/>
                <a:gd name="connsiteX22" fmla="*/ 1514761 w 1892046"/>
                <a:gd name="connsiteY22" fmla="*/ 137065 h 1432274"/>
                <a:gd name="connsiteX23" fmla="*/ 1028795 w 1892046"/>
                <a:gd name="connsiteY23" fmla="*/ 137065 h 1432274"/>
                <a:gd name="connsiteX24" fmla="*/ 1028986 w 1892046"/>
                <a:gd name="connsiteY24" fmla="*/ 137065 h 1432274"/>
                <a:gd name="connsiteX25" fmla="*/ 852869 w 1892046"/>
                <a:gd name="connsiteY25" fmla="*/ 137065 h 1432274"/>
                <a:gd name="connsiteX26" fmla="*/ 771906 w 1892046"/>
                <a:gd name="connsiteY26" fmla="*/ 56959 h 1432274"/>
                <a:gd name="connsiteX27" fmla="*/ 714280 w 1892046"/>
                <a:gd name="connsiteY27" fmla="*/ 0 h 1432274"/>
                <a:gd name="connsiteX28" fmla="*/ 57626 w 1892046"/>
                <a:gd name="connsiteY28" fmla="*/ 0 h 1432274"/>
                <a:gd name="connsiteX29" fmla="*/ 0 w 1892046"/>
                <a:gd name="connsiteY29" fmla="*/ 57626 h 1432274"/>
                <a:gd name="connsiteX30" fmla="*/ 0 w 1892046"/>
                <a:gd name="connsiteY30" fmla="*/ 288798 h 1432274"/>
                <a:gd name="connsiteX31" fmla="*/ 95 w 1892046"/>
                <a:gd name="connsiteY31" fmla="*/ 291655 h 1432274"/>
                <a:gd name="connsiteX32" fmla="*/ 95 w 1892046"/>
                <a:gd name="connsiteY32" fmla="*/ 299656 h 1432274"/>
                <a:gd name="connsiteX33" fmla="*/ 0 w 1892046"/>
                <a:gd name="connsiteY33" fmla="*/ 303466 h 1432274"/>
                <a:gd name="connsiteX34" fmla="*/ 0 w 1892046"/>
                <a:gd name="connsiteY34" fmla="*/ 427387 h 1432274"/>
                <a:gd name="connsiteX35" fmla="*/ 57341 w 1892046"/>
                <a:gd name="connsiteY35" fmla="*/ 426530 h 1432274"/>
                <a:gd name="connsiteX36" fmla="*/ 411099 w 1892046"/>
                <a:gd name="connsiteY36" fmla="*/ 426530 h 1432274"/>
                <a:gd name="connsiteX37" fmla="*/ 468725 w 1892046"/>
                <a:gd name="connsiteY37" fmla="*/ 484156 h 1432274"/>
                <a:gd name="connsiteX38" fmla="*/ 468725 w 1892046"/>
                <a:gd name="connsiteY38" fmla="*/ 669512 h 1432274"/>
                <a:gd name="connsiteX39" fmla="*/ 411099 w 1892046"/>
                <a:gd name="connsiteY39" fmla="*/ 727138 h 1432274"/>
                <a:gd name="connsiteX40" fmla="*/ 390716 w 1892046"/>
                <a:gd name="connsiteY40" fmla="*/ 727138 h 1432274"/>
                <a:gd name="connsiteX41" fmla="*/ 309753 w 1892046"/>
                <a:gd name="connsiteY41" fmla="*/ 808101 h 1432274"/>
                <a:gd name="connsiteX42" fmla="*/ 309753 w 1892046"/>
                <a:gd name="connsiteY42" fmla="*/ 946975 h 1432274"/>
                <a:gd name="connsiteX43" fmla="*/ 252127 w 1892046"/>
                <a:gd name="connsiteY43" fmla="*/ 1006030 h 1432274"/>
                <a:gd name="connsiteX44" fmla="*/ 231743 w 1892046"/>
                <a:gd name="connsiteY44" fmla="*/ 1006030 h 1432274"/>
                <a:gd name="connsiteX45" fmla="*/ 150781 w 1892046"/>
                <a:gd name="connsiteY45" fmla="*/ 1086993 h 1432274"/>
                <a:gd name="connsiteX46" fmla="*/ 150781 w 1892046"/>
                <a:gd name="connsiteY46" fmla="*/ 1293495 h 1432274"/>
                <a:gd name="connsiteX47" fmla="*/ 107347 w 1892046"/>
                <a:gd name="connsiteY47" fmla="*/ 1294162 h 1432274"/>
                <a:gd name="connsiteX48" fmla="*/ 113348 w 1892046"/>
                <a:gd name="connsiteY48" fmla="*/ 1294352 h 1432274"/>
                <a:gd name="connsiteX49" fmla="*/ 226600 w 1892046"/>
                <a:gd name="connsiteY49" fmla="*/ 1294352 h 1432274"/>
                <a:gd name="connsiteX50" fmla="*/ 306515 w 1892046"/>
                <a:gd name="connsiteY50" fmla="*/ 1362266 h 1432274"/>
                <a:gd name="connsiteX51" fmla="*/ 388906 w 1892046"/>
                <a:gd name="connsiteY51" fmla="*/ 1432274 h 143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92046" h="1432274">
                  <a:moveTo>
                    <a:pt x="388906" y="1432274"/>
                  </a:moveTo>
                  <a:lnTo>
                    <a:pt x="542068" y="1432274"/>
                  </a:lnTo>
                  <a:cubicBezTo>
                    <a:pt x="583406" y="1432274"/>
                    <a:pt x="617982" y="1401794"/>
                    <a:pt x="624364" y="1362266"/>
                  </a:cubicBezTo>
                  <a:cubicBezTo>
                    <a:pt x="630841" y="1322737"/>
                    <a:pt x="664274" y="1294352"/>
                    <a:pt x="704279" y="1294352"/>
                  </a:cubicBezTo>
                  <a:lnTo>
                    <a:pt x="1017461" y="1294352"/>
                  </a:lnTo>
                  <a:cubicBezTo>
                    <a:pt x="1059371" y="1294352"/>
                    <a:pt x="1094232" y="1263110"/>
                    <a:pt x="1100042" y="1222724"/>
                  </a:cubicBezTo>
                  <a:cubicBezTo>
                    <a:pt x="1105662" y="1183481"/>
                    <a:pt x="1137952" y="1154526"/>
                    <a:pt x="1177576" y="1153287"/>
                  </a:cubicBezTo>
                  <a:cubicBezTo>
                    <a:pt x="1222248" y="1151858"/>
                    <a:pt x="1258253" y="1114901"/>
                    <a:pt x="1258253" y="1069943"/>
                  </a:cubicBezTo>
                  <a:lnTo>
                    <a:pt x="1258253" y="796194"/>
                  </a:lnTo>
                  <a:cubicBezTo>
                    <a:pt x="1258253" y="752284"/>
                    <a:pt x="1293400" y="716280"/>
                    <a:pt x="1337405" y="715232"/>
                  </a:cubicBezTo>
                  <a:cubicBezTo>
                    <a:pt x="1377696" y="714280"/>
                    <a:pt x="1411224" y="684371"/>
                    <a:pt x="1417701" y="645605"/>
                  </a:cubicBezTo>
                  <a:cubicBezTo>
                    <a:pt x="1424178" y="607123"/>
                    <a:pt x="1456182" y="579215"/>
                    <a:pt x="1495235" y="578072"/>
                  </a:cubicBezTo>
                  <a:cubicBezTo>
                    <a:pt x="1539716" y="576834"/>
                    <a:pt x="1575721" y="540353"/>
                    <a:pt x="1576292" y="495681"/>
                  </a:cubicBezTo>
                  <a:cubicBezTo>
                    <a:pt x="1576864" y="451390"/>
                    <a:pt x="1613059" y="415671"/>
                    <a:pt x="1657255" y="415671"/>
                  </a:cubicBezTo>
                  <a:lnTo>
                    <a:pt x="1833658" y="415671"/>
                  </a:lnTo>
                  <a:cubicBezTo>
                    <a:pt x="1865376" y="415671"/>
                    <a:pt x="1892141" y="395002"/>
                    <a:pt x="1892046" y="363188"/>
                  </a:cubicBezTo>
                  <a:lnTo>
                    <a:pt x="1891951" y="273177"/>
                  </a:lnTo>
                  <a:cubicBezTo>
                    <a:pt x="1804130" y="273177"/>
                    <a:pt x="1718215" y="273844"/>
                    <a:pt x="1630299" y="273844"/>
                  </a:cubicBezTo>
                  <a:cubicBezTo>
                    <a:pt x="1598581" y="273844"/>
                    <a:pt x="1572673" y="247936"/>
                    <a:pt x="1572673" y="216217"/>
                  </a:cubicBezTo>
                  <a:lnTo>
                    <a:pt x="1572673" y="215551"/>
                  </a:lnTo>
                  <a:lnTo>
                    <a:pt x="1572387" y="215551"/>
                  </a:lnTo>
                  <a:lnTo>
                    <a:pt x="1572387" y="194691"/>
                  </a:lnTo>
                  <a:cubicBezTo>
                    <a:pt x="1572387" y="162973"/>
                    <a:pt x="1546479" y="137065"/>
                    <a:pt x="1514761" y="137065"/>
                  </a:cubicBezTo>
                  <a:lnTo>
                    <a:pt x="1028795" y="137065"/>
                  </a:lnTo>
                  <a:lnTo>
                    <a:pt x="1028986" y="137065"/>
                  </a:lnTo>
                  <a:lnTo>
                    <a:pt x="852869" y="137065"/>
                  </a:lnTo>
                  <a:cubicBezTo>
                    <a:pt x="808577" y="137065"/>
                    <a:pt x="772382" y="101251"/>
                    <a:pt x="771906" y="56959"/>
                  </a:cubicBezTo>
                  <a:cubicBezTo>
                    <a:pt x="771525" y="25622"/>
                    <a:pt x="745712" y="0"/>
                    <a:pt x="714280" y="0"/>
                  </a:cubicBezTo>
                  <a:lnTo>
                    <a:pt x="57626" y="0"/>
                  </a:lnTo>
                  <a:cubicBezTo>
                    <a:pt x="25908" y="0"/>
                    <a:pt x="0" y="25908"/>
                    <a:pt x="0" y="57626"/>
                  </a:cubicBezTo>
                  <a:lnTo>
                    <a:pt x="0" y="288798"/>
                  </a:lnTo>
                  <a:cubicBezTo>
                    <a:pt x="0" y="289750"/>
                    <a:pt x="0" y="290703"/>
                    <a:pt x="95" y="291655"/>
                  </a:cubicBezTo>
                  <a:cubicBezTo>
                    <a:pt x="286" y="294418"/>
                    <a:pt x="286" y="296799"/>
                    <a:pt x="95" y="299656"/>
                  </a:cubicBezTo>
                  <a:cubicBezTo>
                    <a:pt x="0" y="300895"/>
                    <a:pt x="0" y="302228"/>
                    <a:pt x="0" y="303466"/>
                  </a:cubicBezTo>
                  <a:lnTo>
                    <a:pt x="0" y="427387"/>
                  </a:lnTo>
                  <a:lnTo>
                    <a:pt x="57341" y="426530"/>
                  </a:lnTo>
                  <a:lnTo>
                    <a:pt x="411099" y="426530"/>
                  </a:lnTo>
                  <a:cubicBezTo>
                    <a:pt x="442817" y="426530"/>
                    <a:pt x="468725" y="452438"/>
                    <a:pt x="468725" y="484156"/>
                  </a:cubicBezTo>
                  <a:lnTo>
                    <a:pt x="468725" y="669512"/>
                  </a:lnTo>
                  <a:cubicBezTo>
                    <a:pt x="468725" y="701230"/>
                    <a:pt x="442817" y="727138"/>
                    <a:pt x="411099" y="727138"/>
                  </a:cubicBezTo>
                  <a:lnTo>
                    <a:pt x="390716" y="727138"/>
                  </a:lnTo>
                  <a:cubicBezTo>
                    <a:pt x="346139" y="727138"/>
                    <a:pt x="309753" y="763524"/>
                    <a:pt x="309753" y="808101"/>
                  </a:cubicBezTo>
                  <a:lnTo>
                    <a:pt x="309753" y="946975"/>
                  </a:lnTo>
                  <a:cubicBezTo>
                    <a:pt x="309753" y="979456"/>
                    <a:pt x="283845" y="1006030"/>
                    <a:pt x="252127" y="1006030"/>
                  </a:cubicBezTo>
                  <a:lnTo>
                    <a:pt x="231743" y="1006030"/>
                  </a:lnTo>
                  <a:cubicBezTo>
                    <a:pt x="187166" y="1006030"/>
                    <a:pt x="150781" y="1042416"/>
                    <a:pt x="150781" y="1086993"/>
                  </a:cubicBezTo>
                  <a:lnTo>
                    <a:pt x="150781" y="1293495"/>
                  </a:lnTo>
                  <a:lnTo>
                    <a:pt x="107347" y="1294162"/>
                  </a:lnTo>
                  <a:cubicBezTo>
                    <a:pt x="109347" y="1294352"/>
                    <a:pt x="111347" y="1294352"/>
                    <a:pt x="113348" y="1294352"/>
                  </a:cubicBezTo>
                  <a:lnTo>
                    <a:pt x="226600" y="1294352"/>
                  </a:lnTo>
                  <a:cubicBezTo>
                    <a:pt x="266605" y="1294352"/>
                    <a:pt x="300038" y="1322832"/>
                    <a:pt x="306515" y="1362266"/>
                  </a:cubicBezTo>
                  <a:cubicBezTo>
                    <a:pt x="312992" y="1401889"/>
                    <a:pt x="347567" y="1432274"/>
                    <a:pt x="388906" y="1432274"/>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9" name="Freeform: Shape 188">
              <a:extLst>
                <a:ext uri="{FF2B5EF4-FFF2-40B4-BE49-F238E27FC236}">
                  <a16:creationId xmlns:a16="http://schemas.microsoft.com/office/drawing/2014/main" id="{3B32754D-3E5F-4015-B2AA-C0AF959A2E66}"/>
                </a:ext>
              </a:extLst>
            </p:cNvPr>
            <p:cNvSpPr/>
            <p:nvPr/>
          </p:nvSpPr>
          <p:spPr>
            <a:xfrm>
              <a:off x="3572367" y="5286168"/>
              <a:ext cx="417766" cy="299656"/>
            </a:xfrm>
            <a:custGeom>
              <a:avLst/>
              <a:gdLst>
                <a:gd name="connsiteX0" fmla="*/ 0 w 417766"/>
                <a:gd name="connsiteY0" fmla="*/ 57626 h 299656"/>
                <a:gd name="connsiteX1" fmla="*/ 0 w 417766"/>
                <a:gd name="connsiteY1" fmla="*/ 77628 h 299656"/>
                <a:gd name="connsiteX2" fmla="*/ 57626 w 417766"/>
                <a:gd name="connsiteY2" fmla="*/ 135255 h 299656"/>
                <a:gd name="connsiteX3" fmla="*/ 201549 w 417766"/>
                <a:gd name="connsiteY3" fmla="*/ 135255 h 299656"/>
                <a:gd name="connsiteX4" fmla="*/ 282512 w 417766"/>
                <a:gd name="connsiteY4" fmla="*/ 216218 h 299656"/>
                <a:gd name="connsiteX5" fmla="*/ 282512 w 417766"/>
                <a:gd name="connsiteY5" fmla="*/ 242030 h 299656"/>
                <a:gd name="connsiteX6" fmla="*/ 340138 w 417766"/>
                <a:gd name="connsiteY6" fmla="*/ 299656 h 299656"/>
                <a:gd name="connsiteX7" fmla="*/ 360140 w 417766"/>
                <a:gd name="connsiteY7" fmla="*/ 299656 h 299656"/>
                <a:gd name="connsiteX8" fmla="*/ 417767 w 417766"/>
                <a:gd name="connsiteY8" fmla="*/ 242030 h 299656"/>
                <a:gd name="connsiteX9" fmla="*/ 417767 w 417766"/>
                <a:gd name="connsiteY9" fmla="*/ 77628 h 299656"/>
                <a:gd name="connsiteX10" fmla="*/ 417767 w 417766"/>
                <a:gd name="connsiteY10" fmla="*/ 57626 h 299656"/>
                <a:gd name="connsiteX11" fmla="*/ 417767 w 417766"/>
                <a:gd name="connsiteY11" fmla="*/ 56102 h 299656"/>
                <a:gd name="connsiteX12" fmla="*/ 417767 w 417766"/>
                <a:gd name="connsiteY12" fmla="*/ 56102 h 299656"/>
                <a:gd name="connsiteX13" fmla="*/ 417671 w 417766"/>
                <a:gd name="connsiteY13" fmla="*/ 54673 h 299656"/>
                <a:gd name="connsiteX14" fmla="*/ 417671 w 417766"/>
                <a:gd name="connsiteY14" fmla="*/ 54673 h 299656"/>
                <a:gd name="connsiteX15" fmla="*/ 417576 w 417766"/>
                <a:gd name="connsiteY15" fmla="*/ 53244 h 299656"/>
                <a:gd name="connsiteX16" fmla="*/ 417576 w 417766"/>
                <a:gd name="connsiteY16" fmla="*/ 53244 h 299656"/>
                <a:gd name="connsiteX17" fmla="*/ 417481 w 417766"/>
                <a:gd name="connsiteY17" fmla="*/ 51816 h 299656"/>
                <a:gd name="connsiteX18" fmla="*/ 417481 w 417766"/>
                <a:gd name="connsiteY18" fmla="*/ 51816 h 299656"/>
                <a:gd name="connsiteX19" fmla="*/ 417290 w 417766"/>
                <a:gd name="connsiteY19" fmla="*/ 50387 h 299656"/>
                <a:gd name="connsiteX20" fmla="*/ 417290 w 417766"/>
                <a:gd name="connsiteY20" fmla="*/ 50387 h 299656"/>
                <a:gd name="connsiteX21" fmla="*/ 417100 w 417766"/>
                <a:gd name="connsiteY21" fmla="*/ 48958 h 299656"/>
                <a:gd name="connsiteX22" fmla="*/ 417100 w 417766"/>
                <a:gd name="connsiteY22" fmla="*/ 48958 h 299656"/>
                <a:gd name="connsiteX23" fmla="*/ 416909 w 417766"/>
                <a:gd name="connsiteY23" fmla="*/ 47530 h 299656"/>
                <a:gd name="connsiteX24" fmla="*/ 416909 w 417766"/>
                <a:gd name="connsiteY24" fmla="*/ 47530 h 299656"/>
                <a:gd name="connsiteX25" fmla="*/ 416623 w 417766"/>
                <a:gd name="connsiteY25" fmla="*/ 46101 h 299656"/>
                <a:gd name="connsiteX26" fmla="*/ 416623 w 417766"/>
                <a:gd name="connsiteY26" fmla="*/ 46101 h 299656"/>
                <a:gd name="connsiteX27" fmla="*/ 416338 w 417766"/>
                <a:gd name="connsiteY27" fmla="*/ 44672 h 299656"/>
                <a:gd name="connsiteX28" fmla="*/ 416338 w 417766"/>
                <a:gd name="connsiteY28" fmla="*/ 44672 h 299656"/>
                <a:gd name="connsiteX29" fmla="*/ 415957 w 417766"/>
                <a:gd name="connsiteY29" fmla="*/ 43243 h 299656"/>
                <a:gd name="connsiteX30" fmla="*/ 415957 w 417766"/>
                <a:gd name="connsiteY30" fmla="*/ 43243 h 299656"/>
                <a:gd name="connsiteX31" fmla="*/ 415576 w 417766"/>
                <a:gd name="connsiteY31" fmla="*/ 41910 h 299656"/>
                <a:gd name="connsiteX32" fmla="*/ 415576 w 417766"/>
                <a:gd name="connsiteY32" fmla="*/ 41910 h 299656"/>
                <a:gd name="connsiteX33" fmla="*/ 415195 w 417766"/>
                <a:gd name="connsiteY33" fmla="*/ 40577 h 299656"/>
                <a:gd name="connsiteX34" fmla="*/ 415195 w 417766"/>
                <a:gd name="connsiteY34" fmla="*/ 40577 h 299656"/>
                <a:gd name="connsiteX35" fmla="*/ 414719 w 417766"/>
                <a:gd name="connsiteY35" fmla="*/ 39243 h 299656"/>
                <a:gd name="connsiteX36" fmla="*/ 414719 w 417766"/>
                <a:gd name="connsiteY36" fmla="*/ 39243 h 299656"/>
                <a:gd name="connsiteX37" fmla="*/ 414242 w 417766"/>
                <a:gd name="connsiteY37" fmla="*/ 37909 h 299656"/>
                <a:gd name="connsiteX38" fmla="*/ 414242 w 417766"/>
                <a:gd name="connsiteY38" fmla="*/ 37909 h 299656"/>
                <a:gd name="connsiteX39" fmla="*/ 413766 w 417766"/>
                <a:gd name="connsiteY39" fmla="*/ 36576 h 299656"/>
                <a:gd name="connsiteX40" fmla="*/ 413766 w 417766"/>
                <a:gd name="connsiteY40" fmla="*/ 36576 h 299656"/>
                <a:gd name="connsiteX41" fmla="*/ 413195 w 417766"/>
                <a:gd name="connsiteY41" fmla="*/ 35243 h 299656"/>
                <a:gd name="connsiteX42" fmla="*/ 413195 w 417766"/>
                <a:gd name="connsiteY42" fmla="*/ 35243 h 299656"/>
                <a:gd name="connsiteX43" fmla="*/ 412623 w 417766"/>
                <a:gd name="connsiteY43" fmla="*/ 34004 h 299656"/>
                <a:gd name="connsiteX44" fmla="*/ 412623 w 417766"/>
                <a:gd name="connsiteY44" fmla="*/ 34004 h 299656"/>
                <a:gd name="connsiteX45" fmla="*/ 412052 w 417766"/>
                <a:gd name="connsiteY45" fmla="*/ 32766 h 299656"/>
                <a:gd name="connsiteX46" fmla="*/ 412052 w 417766"/>
                <a:gd name="connsiteY46" fmla="*/ 32766 h 299656"/>
                <a:gd name="connsiteX47" fmla="*/ 411385 w 417766"/>
                <a:gd name="connsiteY47" fmla="*/ 31528 h 299656"/>
                <a:gd name="connsiteX48" fmla="*/ 411385 w 417766"/>
                <a:gd name="connsiteY48" fmla="*/ 31528 h 299656"/>
                <a:gd name="connsiteX49" fmla="*/ 410718 w 417766"/>
                <a:gd name="connsiteY49" fmla="*/ 30289 h 299656"/>
                <a:gd name="connsiteX50" fmla="*/ 410718 w 417766"/>
                <a:gd name="connsiteY50" fmla="*/ 30289 h 299656"/>
                <a:gd name="connsiteX51" fmla="*/ 410051 w 417766"/>
                <a:gd name="connsiteY51" fmla="*/ 29051 h 299656"/>
                <a:gd name="connsiteX52" fmla="*/ 410051 w 417766"/>
                <a:gd name="connsiteY52" fmla="*/ 29051 h 299656"/>
                <a:gd name="connsiteX53" fmla="*/ 409385 w 417766"/>
                <a:gd name="connsiteY53" fmla="*/ 27813 h 299656"/>
                <a:gd name="connsiteX54" fmla="*/ 409385 w 417766"/>
                <a:gd name="connsiteY54" fmla="*/ 27813 h 299656"/>
                <a:gd name="connsiteX55" fmla="*/ 408622 w 417766"/>
                <a:gd name="connsiteY55" fmla="*/ 26670 h 299656"/>
                <a:gd name="connsiteX56" fmla="*/ 408622 w 417766"/>
                <a:gd name="connsiteY56" fmla="*/ 26670 h 299656"/>
                <a:gd name="connsiteX57" fmla="*/ 407861 w 417766"/>
                <a:gd name="connsiteY57" fmla="*/ 25527 h 299656"/>
                <a:gd name="connsiteX58" fmla="*/ 407861 w 417766"/>
                <a:gd name="connsiteY58" fmla="*/ 25527 h 299656"/>
                <a:gd name="connsiteX59" fmla="*/ 407098 w 417766"/>
                <a:gd name="connsiteY59" fmla="*/ 24384 h 299656"/>
                <a:gd name="connsiteX60" fmla="*/ 407098 w 417766"/>
                <a:gd name="connsiteY60" fmla="*/ 24384 h 299656"/>
                <a:gd name="connsiteX61" fmla="*/ 406241 w 417766"/>
                <a:gd name="connsiteY61" fmla="*/ 23241 h 299656"/>
                <a:gd name="connsiteX62" fmla="*/ 406241 w 417766"/>
                <a:gd name="connsiteY62" fmla="*/ 23241 h 299656"/>
                <a:gd name="connsiteX63" fmla="*/ 405384 w 417766"/>
                <a:gd name="connsiteY63" fmla="*/ 22193 h 299656"/>
                <a:gd name="connsiteX64" fmla="*/ 405384 w 417766"/>
                <a:gd name="connsiteY64" fmla="*/ 22193 h 299656"/>
                <a:gd name="connsiteX65" fmla="*/ 404527 w 417766"/>
                <a:gd name="connsiteY65" fmla="*/ 21145 h 299656"/>
                <a:gd name="connsiteX66" fmla="*/ 404527 w 417766"/>
                <a:gd name="connsiteY66" fmla="*/ 21145 h 299656"/>
                <a:gd name="connsiteX67" fmla="*/ 403670 w 417766"/>
                <a:gd name="connsiteY67" fmla="*/ 20098 h 299656"/>
                <a:gd name="connsiteX68" fmla="*/ 403670 w 417766"/>
                <a:gd name="connsiteY68" fmla="*/ 20098 h 299656"/>
                <a:gd name="connsiteX69" fmla="*/ 402717 w 417766"/>
                <a:gd name="connsiteY69" fmla="*/ 19050 h 299656"/>
                <a:gd name="connsiteX70" fmla="*/ 402717 w 417766"/>
                <a:gd name="connsiteY70" fmla="*/ 19050 h 299656"/>
                <a:gd name="connsiteX71" fmla="*/ 401764 w 417766"/>
                <a:gd name="connsiteY71" fmla="*/ 18002 h 299656"/>
                <a:gd name="connsiteX72" fmla="*/ 401764 w 417766"/>
                <a:gd name="connsiteY72" fmla="*/ 18002 h 299656"/>
                <a:gd name="connsiteX73" fmla="*/ 400812 w 417766"/>
                <a:gd name="connsiteY73" fmla="*/ 17050 h 299656"/>
                <a:gd name="connsiteX74" fmla="*/ 400812 w 417766"/>
                <a:gd name="connsiteY74" fmla="*/ 17050 h 299656"/>
                <a:gd name="connsiteX75" fmla="*/ 399860 w 417766"/>
                <a:gd name="connsiteY75" fmla="*/ 16097 h 299656"/>
                <a:gd name="connsiteX76" fmla="*/ 399860 w 417766"/>
                <a:gd name="connsiteY76" fmla="*/ 16097 h 299656"/>
                <a:gd name="connsiteX77" fmla="*/ 398812 w 417766"/>
                <a:gd name="connsiteY77" fmla="*/ 15144 h 299656"/>
                <a:gd name="connsiteX78" fmla="*/ 398812 w 417766"/>
                <a:gd name="connsiteY78" fmla="*/ 15144 h 299656"/>
                <a:gd name="connsiteX79" fmla="*/ 397764 w 417766"/>
                <a:gd name="connsiteY79" fmla="*/ 14192 h 299656"/>
                <a:gd name="connsiteX80" fmla="*/ 397764 w 417766"/>
                <a:gd name="connsiteY80" fmla="*/ 14192 h 299656"/>
                <a:gd name="connsiteX81" fmla="*/ 396716 w 417766"/>
                <a:gd name="connsiteY81" fmla="*/ 13335 h 299656"/>
                <a:gd name="connsiteX82" fmla="*/ 396716 w 417766"/>
                <a:gd name="connsiteY82" fmla="*/ 13335 h 299656"/>
                <a:gd name="connsiteX83" fmla="*/ 395669 w 417766"/>
                <a:gd name="connsiteY83" fmla="*/ 12478 h 299656"/>
                <a:gd name="connsiteX84" fmla="*/ 395669 w 417766"/>
                <a:gd name="connsiteY84" fmla="*/ 12478 h 299656"/>
                <a:gd name="connsiteX85" fmla="*/ 394621 w 417766"/>
                <a:gd name="connsiteY85" fmla="*/ 11620 h 299656"/>
                <a:gd name="connsiteX86" fmla="*/ 394621 w 417766"/>
                <a:gd name="connsiteY86" fmla="*/ 11620 h 299656"/>
                <a:gd name="connsiteX87" fmla="*/ 393478 w 417766"/>
                <a:gd name="connsiteY87" fmla="*/ 10763 h 299656"/>
                <a:gd name="connsiteX88" fmla="*/ 393478 w 417766"/>
                <a:gd name="connsiteY88" fmla="*/ 10763 h 299656"/>
                <a:gd name="connsiteX89" fmla="*/ 392335 w 417766"/>
                <a:gd name="connsiteY89" fmla="*/ 10001 h 299656"/>
                <a:gd name="connsiteX90" fmla="*/ 392335 w 417766"/>
                <a:gd name="connsiteY90" fmla="*/ 10001 h 299656"/>
                <a:gd name="connsiteX91" fmla="*/ 391192 w 417766"/>
                <a:gd name="connsiteY91" fmla="*/ 9239 h 299656"/>
                <a:gd name="connsiteX92" fmla="*/ 391192 w 417766"/>
                <a:gd name="connsiteY92" fmla="*/ 9239 h 299656"/>
                <a:gd name="connsiteX93" fmla="*/ 390049 w 417766"/>
                <a:gd name="connsiteY93" fmla="*/ 8477 h 299656"/>
                <a:gd name="connsiteX94" fmla="*/ 390049 w 417766"/>
                <a:gd name="connsiteY94" fmla="*/ 8477 h 299656"/>
                <a:gd name="connsiteX95" fmla="*/ 388811 w 417766"/>
                <a:gd name="connsiteY95" fmla="*/ 7811 h 299656"/>
                <a:gd name="connsiteX96" fmla="*/ 388811 w 417766"/>
                <a:gd name="connsiteY96" fmla="*/ 7811 h 299656"/>
                <a:gd name="connsiteX97" fmla="*/ 387572 w 417766"/>
                <a:gd name="connsiteY97" fmla="*/ 7144 h 299656"/>
                <a:gd name="connsiteX98" fmla="*/ 387572 w 417766"/>
                <a:gd name="connsiteY98" fmla="*/ 7144 h 299656"/>
                <a:gd name="connsiteX99" fmla="*/ 386334 w 417766"/>
                <a:gd name="connsiteY99" fmla="*/ 6477 h 299656"/>
                <a:gd name="connsiteX100" fmla="*/ 386334 w 417766"/>
                <a:gd name="connsiteY100" fmla="*/ 6477 h 299656"/>
                <a:gd name="connsiteX101" fmla="*/ 385096 w 417766"/>
                <a:gd name="connsiteY101" fmla="*/ 5810 h 299656"/>
                <a:gd name="connsiteX102" fmla="*/ 385096 w 417766"/>
                <a:gd name="connsiteY102" fmla="*/ 5810 h 299656"/>
                <a:gd name="connsiteX103" fmla="*/ 383858 w 417766"/>
                <a:gd name="connsiteY103" fmla="*/ 5239 h 299656"/>
                <a:gd name="connsiteX104" fmla="*/ 383858 w 417766"/>
                <a:gd name="connsiteY104" fmla="*/ 5239 h 299656"/>
                <a:gd name="connsiteX105" fmla="*/ 382619 w 417766"/>
                <a:gd name="connsiteY105" fmla="*/ 4667 h 299656"/>
                <a:gd name="connsiteX106" fmla="*/ 382619 w 417766"/>
                <a:gd name="connsiteY106" fmla="*/ 4667 h 299656"/>
                <a:gd name="connsiteX107" fmla="*/ 381286 w 417766"/>
                <a:gd name="connsiteY107" fmla="*/ 4096 h 299656"/>
                <a:gd name="connsiteX108" fmla="*/ 381286 w 417766"/>
                <a:gd name="connsiteY108" fmla="*/ 4096 h 299656"/>
                <a:gd name="connsiteX109" fmla="*/ 379952 w 417766"/>
                <a:gd name="connsiteY109" fmla="*/ 3620 h 299656"/>
                <a:gd name="connsiteX110" fmla="*/ 379952 w 417766"/>
                <a:gd name="connsiteY110" fmla="*/ 3620 h 299656"/>
                <a:gd name="connsiteX111" fmla="*/ 378619 w 417766"/>
                <a:gd name="connsiteY111" fmla="*/ 3143 h 299656"/>
                <a:gd name="connsiteX112" fmla="*/ 378619 w 417766"/>
                <a:gd name="connsiteY112" fmla="*/ 3143 h 299656"/>
                <a:gd name="connsiteX113" fmla="*/ 377285 w 417766"/>
                <a:gd name="connsiteY113" fmla="*/ 2667 h 299656"/>
                <a:gd name="connsiteX114" fmla="*/ 377285 w 417766"/>
                <a:gd name="connsiteY114" fmla="*/ 2667 h 299656"/>
                <a:gd name="connsiteX115" fmla="*/ 375952 w 417766"/>
                <a:gd name="connsiteY115" fmla="*/ 2286 h 299656"/>
                <a:gd name="connsiteX116" fmla="*/ 375952 w 417766"/>
                <a:gd name="connsiteY116" fmla="*/ 2286 h 299656"/>
                <a:gd name="connsiteX117" fmla="*/ 374618 w 417766"/>
                <a:gd name="connsiteY117" fmla="*/ 1905 h 299656"/>
                <a:gd name="connsiteX118" fmla="*/ 374618 w 417766"/>
                <a:gd name="connsiteY118" fmla="*/ 1905 h 299656"/>
                <a:gd name="connsiteX119" fmla="*/ 373285 w 417766"/>
                <a:gd name="connsiteY119" fmla="*/ 1524 h 299656"/>
                <a:gd name="connsiteX120" fmla="*/ 373285 w 417766"/>
                <a:gd name="connsiteY120" fmla="*/ 1524 h 299656"/>
                <a:gd name="connsiteX121" fmla="*/ 371856 w 417766"/>
                <a:gd name="connsiteY121" fmla="*/ 1238 h 299656"/>
                <a:gd name="connsiteX122" fmla="*/ 371856 w 417766"/>
                <a:gd name="connsiteY122" fmla="*/ 1238 h 299656"/>
                <a:gd name="connsiteX123" fmla="*/ 370427 w 417766"/>
                <a:gd name="connsiteY123" fmla="*/ 952 h 299656"/>
                <a:gd name="connsiteX124" fmla="*/ 370427 w 417766"/>
                <a:gd name="connsiteY124" fmla="*/ 952 h 299656"/>
                <a:gd name="connsiteX125" fmla="*/ 368998 w 417766"/>
                <a:gd name="connsiteY125" fmla="*/ 667 h 299656"/>
                <a:gd name="connsiteX126" fmla="*/ 368998 w 417766"/>
                <a:gd name="connsiteY126" fmla="*/ 667 h 299656"/>
                <a:gd name="connsiteX127" fmla="*/ 367570 w 417766"/>
                <a:gd name="connsiteY127" fmla="*/ 476 h 299656"/>
                <a:gd name="connsiteX128" fmla="*/ 367570 w 417766"/>
                <a:gd name="connsiteY128" fmla="*/ 476 h 299656"/>
                <a:gd name="connsiteX129" fmla="*/ 366141 w 417766"/>
                <a:gd name="connsiteY129" fmla="*/ 285 h 299656"/>
                <a:gd name="connsiteX130" fmla="*/ 366141 w 417766"/>
                <a:gd name="connsiteY130" fmla="*/ 285 h 299656"/>
                <a:gd name="connsiteX131" fmla="*/ 364712 w 417766"/>
                <a:gd name="connsiteY131" fmla="*/ 190 h 299656"/>
                <a:gd name="connsiteX132" fmla="*/ 364712 w 417766"/>
                <a:gd name="connsiteY132" fmla="*/ 190 h 299656"/>
                <a:gd name="connsiteX133" fmla="*/ 363284 w 417766"/>
                <a:gd name="connsiteY133" fmla="*/ 95 h 299656"/>
                <a:gd name="connsiteX134" fmla="*/ 363284 w 417766"/>
                <a:gd name="connsiteY134" fmla="*/ 95 h 299656"/>
                <a:gd name="connsiteX135" fmla="*/ 362807 w 417766"/>
                <a:gd name="connsiteY135" fmla="*/ 95 h 299656"/>
                <a:gd name="connsiteX136" fmla="*/ 360902 w 417766"/>
                <a:gd name="connsiteY136" fmla="*/ 0 h 299656"/>
                <a:gd name="connsiteX137" fmla="*/ 360426 w 417766"/>
                <a:gd name="connsiteY137" fmla="*/ 0 h 299656"/>
                <a:gd name="connsiteX138" fmla="*/ 360426 w 417766"/>
                <a:gd name="connsiteY138" fmla="*/ 0 h 299656"/>
                <a:gd name="connsiteX139" fmla="*/ 340423 w 417766"/>
                <a:gd name="connsiteY139" fmla="*/ 0 h 299656"/>
                <a:gd name="connsiteX140" fmla="*/ 57912 w 417766"/>
                <a:gd name="connsiteY140" fmla="*/ 0 h 299656"/>
                <a:gd name="connsiteX141" fmla="*/ 0 w 417766"/>
                <a:gd name="connsiteY141" fmla="*/ 57626 h 299656"/>
                <a:gd name="connsiteX142" fmla="*/ 0 w 417766"/>
                <a:gd name="connsiteY142" fmla="*/ 57626 h 299656"/>
                <a:gd name="connsiteX143" fmla="*/ 417767 w 417766"/>
                <a:gd name="connsiteY143" fmla="*/ 57626 h 299656"/>
                <a:gd name="connsiteX144" fmla="*/ 417767 w 417766"/>
                <a:gd name="connsiteY144" fmla="*/ 57626 h 299656"/>
                <a:gd name="connsiteX145" fmla="*/ 417767 w 417766"/>
                <a:gd name="connsiteY145" fmla="*/ 57626 h 29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17766" h="299656">
                  <a:moveTo>
                    <a:pt x="0" y="57626"/>
                  </a:moveTo>
                  <a:lnTo>
                    <a:pt x="0" y="77628"/>
                  </a:lnTo>
                  <a:cubicBezTo>
                    <a:pt x="0" y="109347"/>
                    <a:pt x="25908" y="135255"/>
                    <a:pt x="57626" y="135255"/>
                  </a:cubicBezTo>
                  <a:lnTo>
                    <a:pt x="201549" y="135255"/>
                  </a:lnTo>
                  <a:cubicBezTo>
                    <a:pt x="246126" y="135255"/>
                    <a:pt x="282512" y="171640"/>
                    <a:pt x="282512" y="216218"/>
                  </a:cubicBezTo>
                  <a:lnTo>
                    <a:pt x="282512" y="242030"/>
                  </a:lnTo>
                  <a:cubicBezTo>
                    <a:pt x="282512" y="273748"/>
                    <a:pt x="308420" y="299656"/>
                    <a:pt x="340138" y="299656"/>
                  </a:cubicBezTo>
                  <a:lnTo>
                    <a:pt x="360140" y="299656"/>
                  </a:lnTo>
                  <a:cubicBezTo>
                    <a:pt x="391859" y="299656"/>
                    <a:pt x="417767" y="273748"/>
                    <a:pt x="417767" y="242030"/>
                  </a:cubicBezTo>
                  <a:lnTo>
                    <a:pt x="417767" y="77628"/>
                  </a:lnTo>
                  <a:lnTo>
                    <a:pt x="417767" y="57626"/>
                  </a:lnTo>
                  <a:lnTo>
                    <a:pt x="417767" y="56102"/>
                  </a:lnTo>
                  <a:lnTo>
                    <a:pt x="417767" y="56102"/>
                  </a:lnTo>
                  <a:lnTo>
                    <a:pt x="417671" y="54673"/>
                  </a:lnTo>
                  <a:lnTo>
                    <a:pt x="417671" y="54673"/>
                  </a:lnTo>
                  <a:lnTo>
                    <a:pt x="417576" y="53244"/>
                  </a:lnTo>
                  <a:lnTo>
                    <a:pt x="417576" y="53244"/>
                  </a:lnTo>
                  <a:lnTo>
                    <a:pt x="417481" y="51816"/>
                  </a:lnTo>
                  <a:lnTo>
                    <a:pt x="417481" y="51816"/>
                  </a:lnTo>
                  <a:lnTo>
                    <a:pt x="417290" y="50387"/>
                  </a:lnTo>
                  <a:lnTo>
                    <a:pt x="417290" y="50387"/>
                  </a:lnTo>
                  <a:lnTo>
                    <a:pt x="417100" y="48958"/>
                  </a:lnTo>
                  <a:lnTo>
                    <a:pt x="417100" y="48958"/>
                  </a:lnTo>
                  <a:lnTo>
                    <a:pt x="416909" y="47530"/>
                  </a:lnTo>
                  <a:lnTo>
                    <a:pt x="416909" y="47530"/>
                  </a:lnTo>
                  <a:cubicBezTo>
                    <a:pt x="416814" y="47054"/>
                    <a:pt x="416719" y="46577"/>
                    <a:pt x="416623" y="46101"/>
                  </a:cubicBezTo>
                  <a:lnTo>
                    <a:pt x="416623" y="46101"/>
                  </a:lnTo>
                  <a:lnTo>
                    <a:pt x="416338" y="44672"/>
                  </a:lnTo>
                  <a:lnTo>
                    <a:pt x="416338" y="44672"/>
                  </a:lnTo>
                  <a:lnTo>
                    <a:pt x="415957" y="43243"/>
                  </a:lnTo>
                  <a:lnTo>
                    <a:pt x="415957" y="43243"/>
                  </a:lnTo>
                  <a:lnTo>
                    <a:pt x="415576" y="41910"/>
                  </a:lnTo>
                  <a:lnTo>
                    <a:pt x="415576" y="41910"/>
                  </a:lnTo>
                  <a:lnTo>
                    <a:pt x="415195" y="40577"/>
                  </a:lnTo>
                  <a:lnTo>
                    <a:pt x="415195" y="40577"/>
                  </a:lnTo>
                  <a:lnTo>
                    <a:pt x="414719" y="39243"/>
                  </a:lnTo>
                  <a:lnTo>
                    <a:pt x="414719" y="39243"/>
                  </a:lnTo>
                  <a:lnTo>
                    <a:pt x="414242" y="37909"/>
                  </a:lnTo>
                  <a:lnTo>
                    <a:pt x="414242" y="37909"/>
                  </a:lnTo>
                  <a:lnTo>
                    <a:pt x="413766" y="36576"/>
                  </a:lnTo>
                  <a:lnTo>
                    <a:pt x="413766" y="36576"/>
                  </a:lnTo>
                  <a:lnTo>
                    <a:pt x="413195" y="35243"/>
                  </a:lnTo>
                  <a:lnTo>
                    <a:pt x="413195" y="35243"/>
                  </a:lnTo>
                  <a:lnTo>
                    <a:pt x="412623" y="34004"/>
                  </a:lnTo>
                  <a:lnTo>
                    <a:pt x="412623" y="34004"/>
                  </a:lnTo>
                  <a:lnTo>
                    <a:pt x="412052" y="32766"/>
                  </a:lnTo>
                  <a:lnTo>
                    <a:pt x="412052" y="32766"/>
                  </a:lnTo>
                  <a:lnTo>
                    <a:pt x="411385" y="31528"/>
                  </a:lnTo>
                  <a:lnTo>
                    <a:pt x="411385" y="31528"/>
                  </a:lnTo>
                  <a:cubicBezTo>
                    <a:pt x="411194" y="31146"/>
                    <a:pt x="411004" y="30670"/>
                    <a:pt x="410718" y="30289"/>
                  </a:cubicBezTo>
                  <a:lnTo>
                    <a:pt x="410718" y="30289"/>
                  </a:lnTo>
                  <a:lnTo>
                    <a:pt x="410051" y="29051"/>
                  </a:lnTo>
                  <a:lnTo>
                    <a:pt x="410051" y="29051"/>
                  </a:lnTo>
                  <a:cubicBezTo>
                    <a:pt x="409861" y="28670"/>
                    <a:pt x="409575" y="28289"/>
                    <a:pt x="409385" y="27813"/>
                  </a:cubicBezTo>
                  <a:lnTo>
                    <a:pt x="409385" y="27813"/>
                  </a:lnTo>
                  <a:lnTo>
                    <a:pt x="408622" y="26670"/>
                  </a:lnTo>
                  <a:lnTo>
                    <a:pt x="408622" y="26670"/>
                  </a:lnTo>
                  <a:lnTo>
                    <a:pt x="407861" y="25527"/>
                  </a:lnTo>
                  <a:lnTo>
                    <a:pt x="407861" y="25527"/>
                  </a:lnTo>
                  <a:lnTo>
                    <a:pt x="407098" y="24384"/>
                  </a:lnTo>
                  <a:lnTo>
                    <a:pt x="407098" y="24384"/>
                  </a:lnTo>
                  <a:lnTo>
                    <a:pt x="406241" y="23241"/>
                  </a:lnTo>
                  <a:lnTo>
                    <a:pt x="406241" y="23241"/>
                  </a:lnTo>
                  <a:lnTo>
                    <a:pt x="405384" y="22193"/>
                  </a:lnTo>
                  <a:lnTo>
                    <a:pt x="405384" y="22193"/>
                  </a:lnTo>
                  <a:cubicBezTo>
                    <a:pt x="405098" y="21812"/>
                    <a:pt x="404813" y="21431"/>
                    <a:pt x="404527" y="21145"/>
                  </a:cubicBezTo>
                  <a:lnTo>
                    <a:pt x="404527" y="21145"/>
                  </a:lnTo>
                  <a:lnTo>
                    <a:pt x="403670" y="20098"/>
                  </a:lnTo>
                  <a:lnTo>
                    <a:pt x="403670" y="20098"/>
                  </a:lnTo>
                  <a:lnTo>
                    <a:pt x="402717" y="19050"/>
                  </a:lnTo>
                  <a:lnTo>
                    <a:pt x="402717" y="19050"/>
                  </a:lnTo>
                  <a:lnTo>
                    <a:pt x="401764" y="18002"/>
                  </a:lnTo>
                  <a:lnTo>
                    <a:pt x="401764" y="18002"/>
                  </a:lnTo>
                  <a:lnTo>
                    <a:pt x="400812" y="17050"/>
                  </a:lnTo>
                  <a:lnTo>
                    <a:pt x="400812" y="17050"/>
                  </a:lnTo>
                  <a:lnTo>
                    <a:pt x="399860" y="16097"/>
                  </a:lnTo>
                  <a:lnTo>
                    <a:pt x="399860" y="16097"/>
                  </a:lnTo>
                  <a:lnTo>
                    <a:pt x="398812" y="15144"/>
                  </a:lnTo>
                  <a:lnTo>
                    <a:pt x="398812" y="15144"/>
                  </a:lnTo>
                  <a:lnTo>
                    <a:pt x="397764" y="14192"/>
                  </a:lnTo>
                  <a:lnTo>
                    <a:pt x="397764" y="14192"/>
                  </a:lnTo>
                  <a:lnTo>
                    <a:pt x="396716" y="13335"/>
                  </a:lnTo>
                  <a:lnTo>
                    <a:pt x="396716" y="13335"/>
                  </a:lnTo>
                  <a:cubicBezTo>
                    <a:pt x="396335" y="13049"/>
                    <a:pt x="395954" y="12763"/>
                    <a:pt x="395669" y="12478"/>
                  </a:cubicBezTo>
                  <a:lnTo>
                    <a:pt x="395669" y="12478"/>
                  </a:lnTo>
                  <a:cubicBezTo>
                    <a:pt x="395288" y="12192"/>
                    <a:pt x="394906" y="11906"/>
                    <a:pt x="394621" y="11620"/>
                  </a:cubicBezTo>
                  <a:lnTo>
                    <a:pt x="394621" y="11620"/>
                  </a:lnTo>
                  <a:lnTo>
                    <a:pt x="393478" y="10763"/>
                  </a:lnTo>
                  <a:lnTo>
                    <a:pt x="393478" y="10763"/>
                  </a:lnTo>
                  <a:lnTo>
                    <a:pt x="392335" y="10001"/>
                  </a:lnTo>
                  <a:lnTo>
                    <a:pt x="392335" y="10001"/>
                  </a:lnTo>
                  <a:lnTo>
                    <a:pt x="391192" y="9239"/>
                  </a:lnTo>
                  <a:lnTo>
                    <a:pt x="391192" y="9239"/>
                  </a:lnTo>
                  <a:lnTo>
                    <a:pt x="390049" y="8477"/>
                  </a:lnTo>
                  <a:lnTo>
                    <a:pt x="390049" y="8477"/>
                  </a:lnTo>
                  <a:lnTo>
                    <a:pt x="388811" y="7811"/>
                  </a:lnTo>
                  <a:lnTo>
                    <a:pt x="388811" y="7811"/>
                  </a:lnTo>
                  <a:lnTo>
                    <a:pt x="387572" y="7144"/>
                  </a:lnTo>
                  <a:lnTo>
                    <a:pt x="387572" y="7144"/>
                  </a:lnTo>
                  <a:lnTo>
                    <a:pt x="386334" y="6477"/>
                  </a:lnTo>
                  <a:lnTo>
                    <a:pt x="386334" y="6477"/>
                  </a:lnTo>
                  <a:lnTo>
                    <a:pt x="385096" y="5810"/>
                  </a:lnTo>
                  <a:lnTo>
                    <a:pt x="385096" y="5810"/>
                  </a:lnTo>
                  <a:lnTo>
                    <a:pt x="383858" y="5239"/>
                  </a:lnTo>
                  <a:lnTo>
                    <a:pt x="383858" y="5239"/>
                  </a:lnTo>
                  <a:cubicBezTo>
                    <a:pt x="383477" y="5048"/>
                    <a:pt x="383000" y="4858"/>
                    <a:pt x="382619" y="4667"/>
                  </a:cubicBezTo>
                  <a:lnTo>
                    <a:pt x="382619" y="4667"/>
                  </a:lnTo>
                  <a:lnTo>
                    <a:pt x="381286" y="4096"/>
                  </a:lnTo>
                  <a:lnTo>
                    <a:pt x="381286" y="4096"/>
                  </a:lnTo>
                  <a:lnTo>
                    <a:pt x="379952" y="3620"/>
                  </a:lnTo>
                  <a:lnTo>
                    <a:pt x="379952" y="3620"/>
                  </a:lnTo>
                  <a:lnTo>
                    <a:pt x="378619" y="3143"/>
                  </a:lnTo>
                  <a:lnTo>
                    <a:pt x="378619" y="3143"/>
                  </a:lnTo>
                  <a:lnTo>
                    <a:pt x="377285" y="2667"/>
                  </a:lnTo>
                  <a:lnTo>
                    <a:pt x="377285" y="2667"/>
                  </a:lnTo>
                  <a:lnTo>
                    <a:pt x="375952" y="2286"/>
                  </a:lnTo>
                  <a:lnTo>
                    <a:pt x="375952" y="2286"/>
                  </a:lnTo>
                  <a:lnTo>
                    <a:pt x="374618" y="1905"/>
                  </a:lnTo>
                  <a:lnTo>
                    <a:pt x="374618" y="1905"/>
                  </a:lnTo>
                  <a:lnTo>
                    <a:pt x="373285" y="1524"/>
                  </a:lnTo>
                  <a:lnTo>
                    <a:pt x="373285" y="1524"/>
                  </a:lnTo>
                  <a:lnTo>
                    <a:pt x="371856" y="1238"/>
                  </a:lnTo>
                  <a:lnTo>
                    <a:pt x="371856" y="1238"/>
                  </a:lnTo>
                  <a:cubicBezTo>
                    <a:pt x="371380" y="1143"/>
                    <a:pt x="370904" y="1048"/>
                    <a:pt x="370427" y="952"/>
                  </a:cubicBezTo>
                  <a:lnTo>
                    <a:pt x="370427" y="952"/>
                  </a:lnTo>
                  <a:lnTo>
                    <a:pt x="368998" y="667"/>
                  </a:lnTo>
                  <a:lnTo>
                    <a:pt x="368998" y="667"/>
                  </a:lnTo>
                  <a:lnTo>
                    <a:pt x="367570" y="476"/>
                  </a:lnTo>
                  <a:lnTo>
                    <a:pt x="367570" y="476"/>
                  </a:lnTo>
                  <a:lnTo>
                    <a:pt x="366141" y="285"/>
                  </a:lnTo>
                  <a:lnTo>
                    <a:pt x="366141" y="285"/>
                  </a:lnTo>
                  <a:lnTo>
                    <a:pt x="364712" y="190"/>
                  </a:lnTo>
                  <a:lnTo>
                    <a:pt x="364712" y="190"/>
                  </a:lnTo>
                  <a:lnTo>
                    <a:pt x="363284" y="95"/>
                  </a:lnTo>
                  <a:lnTo>
                    <a:pt x="363284" y="95"/>
                  </a:lnTo>
                  <a:lnTo>
                    <a:pt x="362807" y="95"/>
                  </a:lnTo>
                  <a:cubicBezTo>
                    <a:pt x="362141" y="95"/>
                    <a:pt x="361569" y="95"/>
                    <a:pt x="360902" y="0"/>
                  </a:cubicBezTo>
                  <a:lnTo>
                    <a:pt x="360426" y="0"/>
                  </a:lnTo>
                  <a:lnTo>
                    <a:pt x="360426" y="0"/>
                  </a:lnTo>
                  <a:lnTo>
                    <a:pt x="340423" y="0"/>
                  </a:lnTo>
                  <a:lnTo>
                    <a:pt x="57912" y="0"/>
                  </a:lnTo>
                  <a:cubicBezTo>
                    <a:pt x="25908" y="0"/>
                    <a:pt x="0" y="25908"/>
                    <a:pt x="0" y="57626"/>
                  </a:cubicBezTo>
                  <a:lnTo>
                    <a:pt x="0" y="57626"/>
                  </a:lnTo>
                  <a:close/>
                  <a:moveTo>
                    <a:pt x="417767" y="57626"/>
                  </a:moveTo>
                  <a:lnTo>
                    <a:pt x="417767" y="57626"/>
                  </a:lnTo>
                  <a:lnTo>
                    <a:pt x="417767" y="57626"/>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0" name="Freeform: Shape 189">
              <a:extLst>
                <a:ext uri="{FF2B5EF4-FFF2-40B4-BE49-F238E27FC236}">
                  <a16:creationId xmlns:a16="http://schemas.microsoft.com/office/drawing/2014/main" id="{957085BC-09FE-4530-8928-A158CE34019F}"/>
                </a:ext>
              </a:extLst>
            </p:cNvPr>
            <p:cNvSpPr/>
            <p:nvPr/>
          </p:nvSpPr>
          <p:spPr>
            <a:xfrm>
              <a:off x="2750550" y="3676824"/>
              <a:ext cx="1739455" cy="1600200"/>
            </a:xfrm>
            <a:custGeom>
              <a:avLst/>
              <a:gdLst>
                <a:gd name="connsiteX0" fmla="*/ 476 w 1739455"/>
                <a:gd name="connsiteY0" fmla="*/ 514921 h 1600200"/>
                <a:gd name="connsiteX1" fmla="*/ 48006 w 1739455"/>
                <a:gd name="connsiteY1" fmla="*/ 442722 h 1600200"/>
                <a:gd name="connsiteX2" fmla="*/ 234791 w 1739455"/>
                <a:gd name="connsiteY2" fmla="*/ 442722 h 1600200"/>
                <a:gd name="connsiteX3" fmla="*/ 319373 w 1739455"/>
                <a:gd name="connsiteY3" fmla="*/ 508063 h 1600200"/>
                <a:gd name="connsiteX4" fmla="*/ 319373 w 1739455"/>
                <a:gd name="connsiteY4" fmla="*/ 527018 h 1600200"/>
                <a:gd name="connsiteX5" fmla="*/ 377000 w 1739455"/>
                <a:gd name="connsiteY5" fmla="*/ 584645 h 1600200"/>
                <a:gd name="connsiteX6" fmla="*/ 405098 w 1739455"/>
                <a:gd name="connsiteY6" fmla="*/ 584645 h 1600200"/>
                <a:gd name="connsiteX7" fmla="*/ 486061 w 1739455"/>
                <a:gd name="connsiteY7" fmla="*/ 665607 h 1600200"/>
                <a:gd name="connsiteX8" fmla="*/ 486061 w 1739455"/>
                <a:gd name="connsiteY8" fmla="*/ 672751 h 1600200"/>
                <a:gd name="connsiteX9" fmla="*/ 486061 w 1739455"/>
                <a:gd name="connsiteY9" fmla="*/ 674275 h 1600200"/>
                <a:gd name="connsiteX10" fmla="*/ 486061 w 1739455"/>
                <a:gd name="connsiteY10" fmla="*/ 674275 h 1600200"/>
                <a:gd name="connsiteX11" fmla="*/ 486156 w 1739455"/>
                <a:gd name="connsiteY11" fmla="*/ 675704 h 1600200"/>
                <a:gd name="connsiteX12" fmla="*/ 486156 w 1739455"/>
                <a:gd name="connsiteY12" fmla="*/ 675704 h 1600200"/>
                <a:gd name="connsiteX13" fmla="*/ 486251 w 1739455"/>
                <a:gd name="connsiteY13" fmla="*/ 677132 h 1600200"/>
                <a:gd name="connsiteX14" fmla="*/ 486251 w 1739455"/>
                <a:gd name="connsiteY14" fmla="*/ 677132 h 1600200"/>
                <a:gd name="connsiteX15" fmla="*/ 486346 w 1739455"/>
                <a:gd name="connsiteY15" fmla="*/ 678561 h 1600200"/>
                <a:gd name="connsiteX16" fmla="*/ 486346 w 1739455"/>
                <a:gd name="connsiteY16" fmla="*/ 678561 h 1600200"/>
                <a:gd name="connsiteX17" fmla="*/ 486537 w 1739455"/>
                <a:gd name="connsiteY17" fmla="*/ 679990 h 1600200"/>
                <a:gd name="connsiteX18" fmla="*/ 486537 w 1739455"/>
                <a:gd name="connsiteY18" fmla="*/ 679990 h 1600200"/>
                <a:gd name="connsiteX19" fmla="*/ 486728 w 1739455"/>
                <a:gd name="connsiteY19" fmla="*/ 681419 h 1600200"/>
                <a:gd name="connsiteX20" fmla="*/ 486728 w 1739455"/>
                <a:gd name="connsiteY20" fmla="*/ 681419 h 1600200"/>
                <a:gd name="connsiteX21" fmla="*/ 486918 w 1739455"/>
                <a:gd name="connsiteY21" fmla="*/ 682847 h 1600200"/>
                <a:gd name="connsiteX22" fmla="*/ 486918 w 1739455"/>
                <a:gd name="connsiteY22" fmla="*/ 682847 h 1600200"/>
                <a:gd name="connsiteX23" fmla="*/ 509206 w 1739455"/>
                <a:gd name="connsiteY23" fmla="*/ 718852 h 1600200"/>
                <a:gd name="connsiteX24" fmla="*/ 509206 w 1739455"/>
                <a:gd name="connsiteY24" fmla="*/ 718852 h 1600200"/>
                <a:gd name="connsiteX25" fmla="*/ 510350 w 1739455"/>
                <a:gd name="connsiteY25" fmla="*/ 719709 h 1600200"/>
                <a:gd name="connsiteX26" fmla="*/ 510350 w 1739455"/>
                <a:gd name="connsiteY26" fmla="*/ 719709 h 1600200"/>
                <a:gd name="connsiteX27" fmla="*/ 511493 w 1739455"/>
                <a:gd name="connsiteY27" fmla="*/ 720471 h 1600200"/>
                <a:gd name="connsiteX28" fmla="*/ 511493 w 1739455"/>
                <a:gd name="connsiteY28" fmla="*/ 720471 h 1600200"/>
                <a:gd name="connsiteX29" fmla="*/ 512636 w 1739455"/>
                <a:gd name="connsiteY29" fmla="*/ 721233 h 1600200"/>
                <a:gd name="connsiteX30" fmla="*/ 512636 w 1739455"/>
                <a:gd name="connsiteY30" fmla="*/ 721233 h 1600200"/>
                <a:gd name="connsiteX31" fmla="*/ 513779 w 1739455"/>
                <a:gd name="connsiteY31" fmla="*/ 721995 h 1600200"/>
                <a:gd name="connsiteX32" fmla="*/ 513779 w 1739455"/>
                <a:gd name="connsiteY32" fmla="*/ 721995 h 1600200"/>
                <a:gd name="connsiteX33" fmla="*/ 514350 w 1739455"/>
                <a:gd name="connsiteY33" fmla="*/ 722281 h 1600200"/>
                <a:gd name="connsiteX34" fmla="*/ 515684 w 1739455"/>
                <a:gd name="connsiteY34" fmla="*/ 723043 h 1600200"/>
                <a:gd name="connsiteX35" fmla="*/ 516255 w 1739455"/>
                <a:gd name="connsiteY35" fmla="*/ 723329 h 1600200"/>
                <a:gd name="connsiteX36" fmla="*/ 516255 w 1739455"/>
                <a:gd name="connsiteY36" fmla="*/ 723329 h 1600200"/>
                <a:gd name="connsiteX37" fmla="*/ 517493 w 1739455"/>
                <a:gd name="connsiteY37" fmla="*/ 723995 h 1600200"/>
                <a:gd name="connsiteX38" fmla="*/ 517493 w 1739455"/>
                <a:gd name="connsiteY38" fmla="*/ 723995 h 1600200"/>
                <a:gd name="connsiteX39" fmla="*/ 518731 w 1739455"/>
                <a:gd name="connsiteY39" fmla="*/ 724662 h 1600200"/>
                <a:gd name="connsiteX40" fmla="*/ 518731 w 1739455"/>
                <a:gd name="connsiteY40" fmla="*/ 724662 h 1600200"/>
                <a:gd name="connsiteX41" fmla="*/ 519970 w 1739455"/>
                <a:gd name="connsiteY41" fmla="*/ 725234 h 1600200"/>
                <a:gd name="connsiteX42" fmla="*/ 519970 w 1739455"/>
                <a:gd name="connsiteY42" fmla="*/ 725234 h 1600200"/>
                <a:gd name="connsiteX43" fmla="*/ 521208 w 1739455"/>
                <a:gd name="connsiteY43" fmla="*/ 725805 h 1600200"/>
                <a:gd name="connsiteX44" fmla="*/ 521208 w 1739455"/>
                <a:gd name="connsiteY44" fmla="*/ 725805 h 1600200"/>
                <a:gd name="connsiteX45" fmla="*/ 522542 w 1739455"/>
                <a:gd name="connsiteY45" fmla="*/ 726377 h 1600200"/>
                <a:gd name="connsiteX46" fmla="*/ 522542 w 1739455"/>
                <a:gd name="connsiteY46" fmla="*/ 726377 h 1600200"/>
                <a:gd name="connsiteX47" fmla="*/ 523875 w 1739455"/>
                <a:gd name="connsiteY47" fmla="*/ 726853 h 1600200"/>
                <a:gd name="connsiteX48" fmla="*/ 523875 w 1739455"/>
                <a:gd name="connsiteY48" fmla="*/ 726853 h 1600200"/>
                <a:gd name="connsiteX49" fmla="*/ 525209 w 1739455"/>
                <a:gd name="connsiteY49" fmla="*/ 727329 h 1600200"/>
                <a:gd name="connsiteX50" fmla="*/ 525209 w 1739455"/>
                <a:gd name="connsiteY50" fmla="*/ 727329 h 1600200"/>
                <a:gd name="connsiteX51" fmla="*/ 525494 w 1739455"/>
                <a:gd name="connsiteY51" fmla="*/ 727424 h 1600200"/>
                <a:gd name="connsiteX52" fmla="*/ 527590 w 1739455"/>
                <a:gd name="connsiteY52" fmla="*/ 728091 h 1600200"/>
                <a:gd name="connsiteX53" fmla="*/ 527876 w 1739455"/>
                <a:gd name="connsiteY53" fmla="*/ 728186 h 1600200"/>
                <a:gd name="connsiteX54" fmla="*/ 527876 w 1739455"/>
                <a:gd name="connsiteY54" fmla="*/ 728186 h 1600200"/>
                <a:gd name="connsiteX55" fmla="*/ 529209 w 1739455"/>
                <a:gd name="connsiteY55" fmla="*/ 728567 h 1600200"/>
                <a:gd name="connsiteX56" fmla="*/ 529209 w 1739455"/>
                <a:gd name="connsiteY56" fmla="*/ 728567 h 1600200"/>
                <a:gd name="connsiteX57" fmla="*/ 530543 w 1739455"/>
                <a:gd name="connsiteY57" fmla="*/ 728948 h 1600200"/>
                <a:gd name="connsiteX58" fmla="*/ 530543 w 1739455"/>
                <a:gd name="connsiteY58" fmla="*/ 728948 h 1600200"/>
                <a:gd name="connsiteX59" fmla="*/ 531971 w 1739455"/>
                <a:gd name="connsiteY59" fmla="*/ 729234 h 1600200"/>
                <a:gd name="connsiteX60" fmla="*/ 531971 w 1739455"/>
                <a:gd name="connsiteY60" fmla="*/ 729234 h 1600200"/>
                <a:gd name="connsiteX61" fmla="*/ 533400 w 1739455"/>
                <a:gd name="connsiteY61" fmla="*/ 729520 h 1600200"/>
                <a:gd name="connsiteX62" fmla="*/ 533400 w 1739455"/>
                <a:gd name="connsiteY62" fmla="*/ 729520 h 1600200"/>
                <a:gd name="connsiteX63" fmla="*/ 533686 w 1739455"/>
                <a:gd name="connsiteY63" fmla="*/ 729520 h 1600200"/>
                <a:gd name="connsiteX64" fmla="*/ 536067 w 1739455"/>
                <a:gd name="connsiteY64" fmla="*/ 729901 h 1600200"/>
                <a:gd name="connsiteX65" fmla="*/ 536353 w 1739455"/>
                <a:gd name="connsiteY65" fmla="*/ 729901 h 1600200"/>
                <a:gd name="connsiteX66" fmla="*/ 536353 w 1739455"/>
                <a:gd name="connsiteY66" fmla="*/ 729901 h 1600200"/>
                <a:gd name="connsiteX67" fmla="*/ 537781 w 1739455"/>
                <a:gd name="connsiteY67" fmla="*/ 730091 h 1600200"/>
                <a:gd name="connsiteX68" fmla="*/ 537781 w 1739455"/>
                <a:gd name="connsiteY68" fmla="*/ 730091 h 1600200"/>
                <a:gd name="connsiteX69" fmla="*/ 539210 w 1739455"/>
                <a:gd name="connsiteY69" fmla="*/ 730187 h 1600200"/>
                <a:gd name="connsiteX70" fmla="*/ 539210 w 1739455"/>
                <a:gd name="connsiteY70" fmla="*/ 730187 h 1600200"/>
                <a:gd name="connsiteX71" fmla="*/ 540639 w 1739455"/>
                <a:gd name="connsiteY71" fmla="*/ 730282 h 1600200"/>
                <a:gd name="connsiteX72" fmla="*/ 540639 w 1739455"/>
                <a:gd name="connsiteY72" fmla="*/ 730282 h 1600200"/>
                <a:gd name="connsiteX73" fmla="*/ 541115 w 1739455"/>
                <a:gd name="connsiteY73" fmla="*/ 730282 h 1600200"/>
                <a:gd name="connsiteX74" fmla="*/ 544259 w 1739455"/>
                <a:gd name="connsiteY74" fmla="*/ 730377 h 1600200"/>
                <a:gd name="connsiteX75" fmla="*/ 563594 w 1739455"/>
                <a:gd name="connsiteY75" fmla="*/ 730377 h 1600200"/>
                <a:gd name="connsiteX76" fmla="*/ 565880 w 1739455"/>
                <a:gd name="connsiteY76" fmla="*/ 730377 h 1600200"/>
                <a:gd name="connsiteX77" fmla="*/ 646843 w 1739455"/>
                <a:gd name="connsiteY77" fmla="*/ 811339 h 1600200"/>
                <a:gd name="connsiteX78" fmla="*/ 646843 w 1739455"/>
                <a:gd name="connsiteY78" fmla="*/ 814864 h 1600200"/>
                <a:gd name="connsiteX79" fmla="*/ 646843 w 1739455"/>
                <a:gd name="connsiteY79" fmla="*/ 816388 h 1600200"/>
                <a:gd name="connsiteX80" fmla="*/ 646843 w 1739455"/>
                <a:gd name="connsiteY80" fmla="*/ 816388 h 1600200"/>
                <a:gd name="connsiteX81" fmla="*/ 646938 w 1739455"/>
                <a:gd name="connsiteY81" fmla="*/ 817817 h 1600200"/>
                <a:gd name="connsiteX82" fmla="*/ 646938 w 1739455"/>
                <a:gd name="connsiteY82" fmla="*/ 817817 h 1600200"/>
                <a:gd name="connsiteX83" fmla="*/ 647033 w 1739455"/>
                <a:gd name="connsiteY83" fmla="*/ 819245 h 1600200"/>
                <a:gd name="connsiteX84" fmla="*/ 647033 w 1739455"/>
                <a:gd name="connsiteY84" fmla="*/ 819245 h 1600200"/>
                <a:gd name="connsiteX85" fmla="*/ 647129 w 1739455"/>
                <a:gd name="connsiteY85" fmla="*/ 820674 h 1600200"/>
                <a:gd name="connsiteX86" fmla="*/ 647129 w 1739455"/>
                <a:gd name="connsiteY86" fmla="*/ 820674 h 1600200"/>
                <a:gd name="connsiteX87" fmla="*/ 647319 w 1739455"/>
                <a:gd name="connsiteY87" fmla="*/ 822103 h 1600200"/>
                <a:gd name="connsiteX88" fmla="*/ 647319 w 1739455"/>
                <a:gd name="connsiteY88" fmla="*/ 822103 h 1600200"/>
                <a:gd name="connsiteX89" fmla="*/ 647510 w 1739455"/>
                <a:gd name="connsiteY89" fmla="*/ 823531 h 1600200"/>
                <a:gd name="connsiteX90" fmla="*/ 647510 w 1739455"/>
                <a:gd name="connsiteY90" fmla="*/ 823531 h 1600200"/>
                <a:gd name="connsiteX91" fmla="*/ 647795 w 1739455"/>
                <a:gd name="connsiteY91" fmla="*/ 824960 h 1600200"/>
                <a:gd name="connsiteX92" fmla="*/ 647795 w 1739455"/>
                <a:gd name="connsiteY92" fmla="*/ 824960 h 1600200"/>
                <a:gd name="connsiteX93" fmla="*/ 648081 w 1739455"/>
                <a:gd name="connsiteY93" fmla="*/ 826389 h 1600200"/>
                <a:gd name="connsiteX94" fmla="*/ 648081 w 1739455"/>
                <a:gd name="connsiteY94" fmla="*/ 826389 h 1600200"/>
                <a:gd name="connsiteX95" fmla="*/ 648367 w 1739455"/>
                <a:gd name="connsiteY95" fmla="*/ 827818 h 1600200"/>
                <a:gd name="connsiteX96" fmla="*/ 648367 w 1739455"/>
                <a:gd name="connsiteY96" fmla="*/ 827818 h 1600200"/>
                <a:gd name="connsiteX97" fmla="*/ 648748 w 1739455"/>
                <a:gd name="connsiteY97" fmla="*/ 829247 h 1600200"/>
                <a:gd name="connsiteX98" fmla="*/ 648748 w 1739455"/>
                <a:gd name="connsiteY98" fmla="*/ 829247 h 1600200"/>
                <a:gd name="connsiteX99" fmla="*/ 700088 w 1739455"/>
                <a:gd name="connsiteY99" fmla="*/ 872300 h 1600200"/>
                <a:gd name="connsiteX100" fmla="*/ 700088 w 1739455"/>
                <a:gd name="connsiteY100" fmla="*/ 872300 h 1600200"/>
                <a:gd name="connsiteX101" fmla="*/ 701516 w 1739455"/>
                <a:gd name="connsiteY101" fmla="*/ 872395 h 1600200"/>
                <a:gd name="connsiteX102" fmla="*/ 701516 w 1739455"/>
                <a:gd name="connsiteY102" fmla="*/ 872395 h 1600200"/>
                <a:gd name="connsiteX103" fmla="*/ 701993 w 1739455"/>
                <a:gd name="connsiteY103" fmla="*/ 872395 h 1600200"/>
                <a:gd name="connsiteX104" fmla="*/ 705136 w 1739455"/>
                <a:gd name="connsiteY104" fmla="*/ 872490 h 1600200"/>
                <a:gd name="connsiteX105" fmla="*/ 712565 w 1739455"/>
                <a:gd name="connsiteY105" fmla="*/ 872490 h 1600200"/>
                <a:gd name="connsiteX106" fmla="*/ 793528 w 1739455"/>
                <a:gd name="connsiteY106" fmla="*/ 953453 h 1600200"/>
                <a:gd name="connsiteX107" fmla="*/ 793528 w 1739455"/>
                <a:gd name="connsiteY107" fmla="*/ 956977 h 1600200"/>
                <a:gd name="connsiteX108" fmla="*/ 793528 w 1739455"/>
                <a:gd name="connsiteY108" fmla="*/ 958501 h 1600200"/>
                <a:gd name="connsiteX109" fmla="*/ 793528 w 1739455"/>
                <a:gd name="connsiteY109" fmla="*/ 958501 h 1600200"/>
                <a:gd name="connsiteX110" fmla="*/ 793623 w 1739455"/>
                <a:gd name="connsiteY110" fmla="*/ 959930 h 1600200"/>
                <a:gd name="connsiteX111" fmla="*/ 793623 w 1739455"/>
                <a:gd name="connsiteY111" fmla="*/ 959930 h 1600200"/>
                <a:gd name="connsiteX112" fmla="*/ 793718 w 1739455"/>
                <a:gd name="connsiteY112" fmla="*/ 961358 h 1600200"/>
                <a:gd name="connsiteX113" fmla="*/ 793718 w 1739455"/>
                <a:gd name="connsiteY113" fmla="*/ 961358 h 1600200"/>
                <a:gd name="connsiteX114" fmla="*/ 793813 w 1739455"/>
                <a:gd name="connsiteY114" fmla="*/ 962787 h 1600200"/>
                <a:gd name="connsiteX115" fmla="*/ 793813 w 1739455"/>
                <a:gd name="connsiteY115" fmla="*/ 962787 h 1600200"/>
                <a:gd name="connsiteX116" fmla="*/ 794004 w 1739455"/>
                <a:gd name="connsiteY116" fmla="*/ 964216 h 1600200"/>
                <a:gd name="connsiteX117" fmla="*/ 794004 w 1739455"/>
                <a:gd name="connsiteY117" fmla="*/ 964216 h 1600200"/>
                <a:gd name="connsiteX118" fmla="*/ 794195 w 1739455"/>
                <a:gd name="connsiteY118" fmla="*/ 965645 h 1600200"/>
                <a:gd name="connsiteX119" fmla="*/ 794195 w 1739455"/>
                <a:gd name="connsiteY119" fmla="*/ 965645 h 1600200"/>
                <a:gd name="connsiteX120" fmla="*/ 823151 w 1739455"/>
                <a:gd name="connsiteY120" fmla="*/ 1007269 h 1600200"/>
                <a:gd name="connsiteX121" fmla="*/ 823722 w 1739455"/>
                <a:gd name="connsiteY121" fmla="*/ 1007555 h 1600200"/>
                <a:gd name="connsiteX122" fmla="*/ 823722 w 1739455"/>
                <a:gd name="connsiteY122" fmla="*/ 1007555 h 1600200"/>
                <a:gd name="connsiteX123" fmla="*/ 824960 w 1739455"/>
                <a:gd name="connsiteY123" fmla="*/ 1008221 h 1600200"/>
                <a:gd name="connsiteX124" fmla="*/ 824960 w 1739455"/>
                <a:gd name="connsiteY124" fmla="*/ 1008221 h 1600200"/>
                <a:gd name="connsiteX125" fmla="*/ 826198 w 1739455"/>
                <a:gd name="connsiteY125" fmla="*/ 1008888 h 1600200"/>
                <a:gd name="connsiteX126" fmla="*/ 826198 w 1739455"/>
                <a:gd name="connsiteY126" fmla="*/ 1008888 h 1600200"/>
                <a:gd name="connsiteX127" fmla="*/ 827437 w 1739455"/>
                <a:gd name="connsiteY127" fmla="*/ 1009460 h 1600200"/>
                <a:gd name="connsiteX128" fmla="*/ 827437 w 1739455"/>
                <a:gd name="connsiteY128" fmla="*/ 1009460 h 1600200"/>
                <a:gd name="connsiteX129" fmla="*/ 828675 w 1739455"/>
                <a:gd name="connsiteY129" fmla="*/ 1010031 h 1600200"/>
                <a:gd name="connsiteX130" fmla="*/ 828675 w 1739455"/>
                <a:gd name="connsiteY130" fmla="*/ 1010031 h 1600200"/>
                <a:gd name="connsiteX131" fmla="*/ 830009 w 1739455"/>
                <a:gd name="connsiteY131" fmla="*/ 1010603 h 1600200"/>
                <a:gd name="connsiteX132" fmla="*/ 830009 w 1739455"/>
                <a:gd name="connsiteY132" fmla="*/ 1010603 h 1600200"/>
                <a:gd name="connsiteX133" fmla="*/ 831342 w 1739455"/>
                <a:gd name="connsiteY133" fmla="*/ 1011079 h 1600200"/>
                <a:gd name="connsiteX134" fmla="*/ 831342 w 1739455"/>
                <a:gd name="connsiteY134" fmla="*/ 1011079 h 1600200"/>
                <a:gd name="connsiteX135" fmla="*/ 832676 w 1739455"/>
                <a:gd name="connsiteY135" fmla="*/ 1011555 h 1600200"/>
                <a:gd name="connsiteX136" fmla="*/ 832676 w 1739455"/>
                <a:gd name="connsiteY136" fmla="*/ 1011555 h 1600200"/>
                <a:gd name="connsiteX137" fmla="*/ 832961 w 1739455"/>
                <a:gd name="connsiteY137" fmla="*/ 1011650 h 1600200"/>
                <a:gd name="connsiteX138" fmla="*/ 835057 w 1739455"/>
                <a:gd name="connsiteY138" fmla="*/ 1012317 h 1600200"/>
                <a:gd name="connsiteX139" fmla="*/ 835343 w 1739455"/>
                <a:gd name="connsiteY139" fmla="*/ 1012412 h 1600200"/>
                <a:gd name="connsiteX140" fmla="*/ 835343 w 1739455"/>
                <a:gd name="connsiteY140" fmla="*/ 1012412 h 1600200"/>
                <a:gd name="connsiteX141" fmla="*/ 836676 w 1739455"/>
                <a:gd name="connsiteY141" fmla="*/ 1012793 h 1600200"/>
                <a:gd name="connsiteX142" fmla="*/ 836676 w 1739455"/>
                <a:gd name="connsiteY142" fmla="*/ 1012793 h 1600200"/>
                <a:gd name="connsiteX143" fmla="*/ 838010 w 1739455"/>
                <a:gd name="connsiteY143" fmla="*/ 1013174 h 1600200"/>
                <a:gd name="connsiteX144" fmla="*/ 838010 w 1739455"/>
                <a:gd name="connsiteY144" fmla="*/ 1013174 h 1600200"/>
                <a:gd name="connsiteX145" fmla="*/ 839438 w 1739455"/>
                <a:gd name="connsiteY145" fmla="*/ 1013460 h 1600200"/>
                <a:gd name="connsiteX146" fmla="*/ 839438 w 1739455"/>
                <a:gd name="connsiteY146" fmla="*/ 1013460 h 1600200"/>
                <a:gd name="connsiteX147" fmla="*/ 840867 w 1739455"/>
                <a:gd name="connsiteY147" fmla="*/ 1013746 h 1600200"/>
                <a:gd name="connsiteX148" fmla="*/ 840867 w 1739455"/>
                <a:gd name="connsiteY148" fmla="*/ 1013746 h 1600200"/>
                <a:gd name="connsiteX149" fmla="*/ 841153 w 1739455"/>
                <a:gd name="connsiteY149" fmla="*/ 1013746 h 1600200"/>
                <a:gd name="connsiteX150" fmla="*/ 843534 w 1739455"/>
                <a:gd name="connsiteY150" fmla="*/ 1014127 h 1600200"/>
                <a:gd name="connsiteX151" fmla="*/ 843820 w 1739455"/>
                <a:gd name="connsiteY151" fmla="*/ 1014127 h 1600200"/>
                <a:gd name="connsiteX152" fmla="*/ 843820 w 1739455"/>
                <a:gd name="connsiteY152" fmla="*/ 1014127 h 1600200"/>
                <a:gd name="connsiteX153" fmla="*/ 845248 w 1739455"/>
                <a:gd name="connsiteY153" fmla="*/ 1014317 h 1600200"/>
                <a:gd name="connsiteX154" fmla="*/ 845248 w 1739455"/>
                <a:gd name="connsiteY154" fmla="*/ 1014317 h 1600200"/>
                <a:gd name="connsiteX155" fmla="*/ 846677 w 1739455"/>
                <a:gd name="connsiteY155" fmla="*/ 1014413 h 1600200"/>
                <a:gd name="connsiteX156" fmla="*/ 846677 w 1739455"/>
                <a:gd name="connsiteY156" fmla="*/ 1014413 h 1600200"/>
                <a:gd name="connsiteX157" fmla="*/ 848106 w 1739455"/>
                <a:gd name="connsiteY157" fmla="*/ 1014508 h 1600200"/>
                <a:gd name="connsiteX158" fmla="*/ 848106 w 1739455"/>
                <a:gd name="connsiteY158" fmla="*/ 1014508 h 1600200"/>
                <a:gd name="connsiteX159" fmla="*/ 848582 w 1739455"/>
                <a:gd name="connsiteY159" fmla="*/ 1014508 h 1600200"/>
                <a:gd name="connsiteX160" fmla="*/ 851726 w 1739455"/>
                <a:gd name="connsiteY160" fmla="*/ 1014603 h 1600200"/>
                <a:gd name="connsiteX161" fmla="*/ 871156 w 1739455"/>
                <a:gd name="connsiteY161" fmla="*/ 1014603 h 1600200"/>
                <a:gd name="connsiteX162" fmla="*/ 878110 w 1739455"/>
                <a:gd name="connsiteY162" fmla="*/ 1014603 h 1600200"/>
                <a:gd name="connsiteX163" fmla="*/ 959072 w 1739455"/>
                <a:gd name="connsiteY163" fmla="*/ 1095566 h 1600200"/>
                <a:gd name="connsiteX164" fmla="*/ 959072 w 1739455"/>
                <a:gd name="connsiteY164" fmla="*/ 1105376 h 1600200"/>
                <a:gd name="connsiteX165" fmla="*/ 959072 w 1739455"/>
                <a:gd name="connsiteY165" fmla="*/ 1106805 h 1600200"/>
                <a:gd name="connsiteX166" fmla="*/ 959072 w 1739455"/>
                <a:gd name="connsiteY166" fmla="*/ 1106805 h 1600200"/>
                <a:gd name="connsiteX167" fmla="*/ 959168 w 1739455"/>
                <a:gd name="connsiteY167" fmla="*/ 1108234 h 1600200"/>
                <a:gd name="connsiteX168" fmla="*/ 959168 w 1739455"/>
                <a:gd name="connsiteY168" fmla="*/ 1108234 h 1600200"/>
                <a:gd name="connsiteX169" fmla="*/ 959263 w 1739455"/>
                <a:gd name="connsiteY169" fmla="*/ 1109663 h 1600200"/>
                <a:gd name="connsiteX170" fmla="*/ 959263 w 1739455"/>
                <a:gd name="connsiteY170" fmla="*/ 1109663 h 1600200"/>
                <a:gd name="connsiteX171" fmla="*/ 959358 w 1739455"/>
                <a:gd name="connsiteY171" fmla="*/ 1111091 h 1600200"/>
                <a:gd name="connsiteX172" fmla="*/ 959358 w 1739455"/>
                <a:gd name="connsiteY172" fmla="*/ 1111091 h 1600200"/>
                <a:gd name="connsiteX173" fmla="*/ 959548 w 1739455"/>
                <a:gd name="connsiteY173" fmla="*/ 1112520 h 1600200"/>
                <a:gd name="connsiteX174" fmla="*/ 959548 w 1739455"/>
                <a:gd name="connsiteY174" fmla="*/ 1112520 h 1600200"/>
                <a:gd name="connsiteX175" fmla="*/ 959739 w 1739455"/>
                <a:gd name="connsiteY175" fmla="*/ 1113949 h 1600200"/>
                <a:gd name="connsiteX176" fmla="*/ 959739 w 1739455"/>
                <a:gd name="connsiteY176" fmla="*/ 1113949 h 1600200"/>
                <a:gd name="connsiteX177" fmla="*/ 959930 w 1739455"/>
                <a:gd name="connsiteY177" fmla="*/ 1115378 h 1600200"/>
                <a:gd name="connsiteX178" fmla="*/ 959930 w 1739455"/>
                <a:gd name="connsiteY178" fmla="*/ 1115378 h 1600200"/>
                <a:gd name="connsiteX179" fmla="*/ 960215 w 1739455"/>
                <a:gd name="connsiteY179" fmla="*/ 1116806 h 1600200"/>
                <a:gd name="connsiteX180" fmla="*/ 960215 w 1739455"/>
                <a:gd name="connsiteY180" fmla="*/ 1116806 h 1600200"/>
                <a:gd name="connsiteX181" fmla="*/ 960501 w 1739455"/>
                <a:gd name="connsiteY181" fmla="*/ 1118235 h 1600200"/>
                <a:gd name="connsiteX182" fmla="*/ 960501 w 1739455"/>
                <a:gd name="connsiteY182" fmla="*/ 1118235 h 1600200"/>
                <a:gd name="connsiteX183" fmla="*/ 960882 w 1739455"/>
                <a:gd name="connsiteY183" fmla="*/ 1119664 h 1600200"/>
                <a:gd name="connsiteX184" fmla="*/ 960882 w 1739455"/>
                <a:gd name="connsiteY184" fmla="*/ 1119664 h 1600200"/>
                <a:gd name="connsiteX185" fmla="*/ 961263 w 1739455"/>
                <a:gd name="connsiteY185" fmla="*/ 1120997 h 1600200"/>
                <a:gd name="connsiteX186" fmla="*/ 961263 w 1739455"/>
                <a:gd name="connsiteY186" fmla="*/ 1120997 h 1600200"/>
                <a:gd name="connsiteX187" fmla="*/ 961644 w 1739455"/>
                <a:gd name="connsiteY187" fmla="*/ 1122331 h 1600200"/>
                <a:gd name="connsiteX188" fmla="*/ 961644 w 1739455"/>
                <a:gd name="connsiteY188" fmla="*/ 1122331 h 1600200"/>
                <a:gd name="connsiteX189" fmla="*/ 962120 w 1739455"/>
                <a:gd name="connsiteY189" fmla="*/ 1123664 h 1600200"/>
                <a:gd name="connsiteX190" fmla="*/ 962120 w 1739455"/>
                <a:gd name="connsiteY190" fmla="*/ 1123664 h 1600200"/>
                <a:gd name="connsiteX191" fmla="*/ 962597 w 1739455"/>
                <a:gd name="connsiteY191" fmla="*/ 1124998 h 1600200"/>
                <a:gd name="connsiteX192" fmla="*/ 962597 w 1739455"/>
                <a:gd name="connsiteY192" fmla="*/ 1124998 h 1600200"/>
                <a:gd name="connsiteX193" fmla="*/ 963073 w 1739455"/>
                <a:gd name="connsiteY193" fmla="*/ 1126331 h 1600200"/>
                <a:gd name="connsiteX194" fmla="*/ 963073 w 1739455"/>
                <a:gd name="connsiteY194" fmla="*/ 1126331 h 1600200"/>
                <a:gd name="connsiteX195" fmla="*/ 963644 w 1739455"/>
                <a:gd name="connsiteY195" fmla="*/ 1127665 h 1600200"/>
                <a:gd name="connsiteX196" fmla="*/ 963644 w 1739455"/>
                <a:gd name="connsiteY196" fmla="*/ 1127665 h 1600200"/>
                <a:gd name="connsiteX197" fmla="*/ 964216 w 1739455"/>
                <a:gd name="connsiteY197" fmla="*/ 1128903 h 1600200"/>
                <a:gd name="connsiteX198" fmla="*/ 964216 w 1739455"/>
                <a:gd name="connsiteY198" fmla="*/ 1128903 h 1600200"/>
                <a:gd name="connsiteX199" fmla="*/ 964787 w 1739455"/>
                <a:gd name="connsiteY199" fmla="*/ 1130141 h 1600200"/>
                <a:gd name="connsiteX200" fmla="*/ 964787 w 1739455"/>
                <a:gd name="connsiteY200" fmla="*/ 1130141 h 1600200"/>
                <a:gd name="connsiteX201" fmla="*/ 965454 w 1739455"/>
                <a:gd name="connsiteY201" fmla="*/ 1131380 h 1600200"/>
                <a:gd name="connsiteX202" fmla="*/ 965454 w 1739455"/>
                <a:gd name="connsiteY202" fmla="*/ 1131380 h 1600200"/>
                <a:gd name="connsiteX203" fmla="*/ 966121 w 1739455"/>
                <a:gd name="connsiteY203" fmla="*/ 1132618 h 1600200"/>
                <a:gd name="connsiteX204" fmla="*/ 966121 w 1739455"/>
                <a:gd name="connsiteY204" fmla="*/ 1132618 h 1600200"/>
                <a:gd name="connsiteX205" fmla="*/ 966788 w 1739455"/>
                <a:gd name="connsiteY205" fmla="*/ 1133856 h 1600200"/>
                <a:gd name="connsiteX206" fmla="*/ 966788 w 1739455"/>
                <a:gd name="connsiteY206" fmla="*/ 1133856 h 1600200"/>
                <a:gd name="connsiteX207" fmla="*/ 967454 w 1739455"/>
                <a:gd name="connsiteY207" fmla="*/ 1135094 h 1600200"/>
                <a:gd name="connsiteX208" fmla="*/ 967454 w 1739455"/>
                <a:gd name="connsiteY208" fmla="*/ 1135094 h 1600200"/>
                <a:gd name="connsiteX209" fmla="*/ 968216 w 1739455"/>
                <a:gd name="connsiteY209" fmla="*/ 1136237 h 1600200"/>
                <a:gd name="connsiteX210" fmla="*/ 968216 w 1739455"/>
                <a:gd name="connsiteY210" fmla="*/ 1136237 h 1600200"/>
                <a:gd name="connsiteX211" fmla="*/ 968978 w 1739455"/>
                <a:gd name="connsiteY211" fmla="*/ 1137380 h 1600200"/>
                <a:gd name="connsiteX212" fmla="*/ 968978 w 1739455"/>
                <a:gd name="connsiteY212" fmla="*/ 1137380 h 1600200"/>
                <a:gd name="connsiteX213" fmla="*/ 969740 w 1739455"/>
                <a:gd name="connsiteY213" fmla="*/ 1138523 h 1600200"/>
                <a:gd name="connsiteX214" fmla="*/ 969740 w 1739455"/>
                <a:gd name="connsiteY214" fmla="*/ 1138523 h 1600200"/>
                <a:gd name="connsiteX215" fmla="*/ 970597 w 1739455"/>
                <a:gd name="connsiteY215" fmla="*/ 1139666 h 1600200"/>
                <a:gd name="connsiteX216" fmla="*/ 970597 w 1739455"/>
                <a:gd name="connsiteY216" fmla="*/ 1139666 h 1600200"/>
                <a:gd name="connsiteX217" fmla="*/ 971455 w 1739455"/>
                <a:gd name="connsiteY217" fmla="*/ 1140809 h 1600200"/>
                <a:gd name="connsiteX218" fmla="*/ 971455 w 1739455"/>
                <a:gd name="connsiteY218" fmla="*/ 1140809 h 1600200"/>
                <a:gd name="connsiteX219" fmla="*/ 972312 w 1739455"/>
                <a:gd name="connsiteY219" fmla="*/ 1141857 h 1600200"/>
                <a:gd name="connsiteX220" fmla="*/ 972312 w 1739455"/>
                <a:gd name="connsiteY220" fmla="*/ 1141857 h 1600200"/>
                <a:gd name="connsiteX221" fmla="*/ 973169 w 1739455"/>
                <a:gd name="connsiteY221" fmla="*/ 1142905 h 1600200"/>
                <a:gd name="connsiteX222" fmla="*/ 973169 w 1739455"/>
                <a:gd name="connsiteY222" fmla="*/ 1142905 h 1600200"/>
                <a:gd name="connsiteX223" fmla="*/ 974122 w 1739455"/>
                <a:gd name="connsiteY223" fmla="*/ 1143953 h 1600200"/>
                <a:gd name="connsiteX224" fmla="*/ 974122 w 1739455"/>
                <a:gd name="connsiteY224" fmla="*/ 1143953 h 1600200"/>
                <a:gd name="connsiteX225" fmla="*/ 975074 w 1739455"/>
                <a:gd name="connsiteY225" fmla="*/ 1145000 h 1600200"/>
                <a:gd name="connsiteX226" fmla="*/ 975074 w 1739455"/>
                <a:gd name="connsiteY226" fmla="*/ 1145000 h 1600200"/>
                <a:gd name="connsiteX227" fmla="*/ 976027 w 1739455"/>
                <a:gd name="connsiteY227" fmla="*/ 1145953 h 1600200"/>
                <a:gd name="connsiteX228" fmla="*/ 976027 w 1739455"/>
                <a:gd name="connsiteY228" fmla="*/ 1145953 h 1600200"/>
                <a:gd name="connsiteX229" fmla="*/ 976979 w 1739455"/>
                <a:gd name="connsiteY229" fmla="*/ 1146905 h 1600200"/>
                <a:gd name="connsiteX230" fmla="*/ 976979 w 1739455"/>
                <a:gd name="connsiteY230" fmla="*/ 1146905 h 1600200"/>
                <a:gd name="connsiteX231" fmla="*/ 978027 w 1739455"/>
                <a:gd name="connsiteY231" fmla="*/ 1147858 h 1600200"/>
                <a:gd name="connsiteX232" fmla="*/ 978027 w 1739455"/>
                <a:gd name="connsiteY232" fmla="*/ 1147858 h 1600200"/>
                <a:gd name="connsiteX233" fmla="*/ 979075 w 1739455"/>
                <a:gd name="connsiteY233" fmla="*/ 1148810 h 1600200"/>
                <a:gd name="connsiteX234" fmla="*/ 979075 w 1739455"/>
                <a:gd name="connsiteY234" fmla="*/ 1148810 h 1600200"/>
                <a:gd name="connsiteX235" fmla="*/ 980122 w 1739455"/>
                <a:gd name="connsiteY235" fmla="*/ 1149668 h 1600200"/>
                <a:gd name="connsiteX236" fmla="*/ 980122 w 1739455"/>
                <a:gd name="connsiteY236" fmla="*/ 1149668 h 1600200"/>
                <a:gd name="connsiteX237" fmla="*/ 981170 w 1739455"/>
                <a:gd name="connsiteY237" fmla="*/ 1150525 h 1600200"/>
                <a:gd name="connsiteX238" fmla="*/ 981170 w 1739455"/>
                <a:gd name="connsiteY238" fmla="*/ 1150525 h 1600200"/>
                <a:gd name="connsiteX239" fmla="*/ 982218 w 1739455"/>
                <a:gd name="connsiteY239" fmla="*/ 1151382 h 1600200"/>
                <a:gd name="connsiteX240" fmla="*/ 982218 w 1739455"/>
                <a:gd name="connsiteY240" fmla="*/ 1151382 h 1600200"/>
                <a:gd name="connsiteX241" fmla="*/ 983361 w 1739455"/>
                <a:gd name="connsiteY241" fmla="*/ 1152239 h 1600200"/>
                <a:gd name="connsiteX242" fmla="*/ 983361 w 1739455"/>
                <a:gd name="connsiteY242" fmla="*/ 1152239 h 1600200"/>
                <a:gd name="connsiteX243" fmla="*/ 984504 w 1739455"/>
                <a:gd name="connsiteY243" fmla="*/ 1153001 h 1600200"/>
                <a:gd name="connsiteX244" fmla="*/ 984504 w 1739455"/>
                <a:gd name="connsiteY244" fmla="*/ 1153001 h 1600200"/>
                <a:gd name="connsiteX245" fmla="*/ 985647 w 1739455"/>
                <a:gd name="connsiteY245" fmla="*/ 1153763 h 1600200"/>
                <a:gd name="connsiteX246" fmla="*/ 985647 w 1739455"/>
                <a:gd name="connsiteY246" fmla="*/ 1153763 h 1600200"/>
                <a:gd name="connsiteX247" fmla="*/ 986790 w 1739455"/>
                <a:gd name="connsiteY247" fmla="*/ 1154525 h 1600200"/>
                <a:gd name="connsiteX248" fmla="*/ 986790 w 1739455"/>
                <a:gd name="connsiteY248" fmla="*/ 1154525 h 1600200"/>
                <a:gd name="connsiteX249" fmla="*/ 988028 w 1739455"/>
                <a:gd name="connsiteY249" fmla="*/ 1155192 h 1600200"/>
                <a:gd name="connsiteX250" fmla="*/ 988028 w 1739455"/>
                <a:gd name="connsiteY250" fmla="*/ 1155192 h 1600200"/>
                <a:gd name="connsiteX251" fmla="*/ 989267 w 1739455"/>
                <a:gd name="connsiteY251" fmla="*/ 1155859 h 1600200"/>
                <a:gd name="connsiteX252" fmla="*/ 989267 w 1739455"/>
                <a:gd name="connsiteY252" fmla="*/ 1155859 h 1600200"/>
                <a:gd name="connsiteX253" fmla="*/ 990505 w 1739455"/>
                <a:gd name="connsiteY253" fmla="*/ 1156526 h 1600200"/>
                <a:gd name="connsiteX254" fmla="*/ 990505 w 1739455"/>
                <a:gd name="connsiteY254" fmla="*/ 1156526 h 1600200"/>
                <a:gd name="connsiteX255" fmla="*/ 991743 w 1739455"/>
                <a:gd name="connsiteY255" fmla="*/ 1157192 h 1600200"/>
                <a:gd name="connsiteX256" fmla="*/ 991743 w 1739455"/>
                <a:gd name="connsiteY256" fmla="*/ 1157192 h 1600200"/>
                <a:gd name="connsiteX257" fmla="*/ 992981 w 1739455"/>
                <a:gd name="connsiteY257" fmla="*/ 1157764 h 1600200"/>
                <a:gd name="connsiteX258" fmla="*/ 992981 w 1739455"/>
                <a:gd name="connsiteY258" fmla="*/ 1157764 h 1600200"/>
                <a:gd name="connsiteX259" fmla="*/ 994220 w 1739455"/>
                <a:gd name="connsiteY259" fmla="*/ 1158335 h 1600200"/>
                <a:gd name="connsiteX260" fmla="*/ 994220 w 1739455"/>
                <a:gd name="connsiteY260" fmla="*/ 1158335 h 1600200"/>
                <a:gd name="connsiteX261" fmla="*/ 995553 w 1739455"/>
                <a:gd name="connsiteY261" fmla="*/ 1158907 h 1600200"/>
                <a:gd name="connsiteX262" fmla="*/ 995553 w 1739455"/>
                <a:gd name="connsiteY262" fmla="*/ 1158907 h 1600200"/>
                <a:gd name="connsiteX263" fmla="*/ 996887 w 1739455"/>
                <a:gd name="connsiteY263" fmla="*/ 1159383 h 1600200"/>
                <a:gd name="connsiteX264" fmla="*/ 996887 w 1739455"/>
                <a:gd name="connsiteY264" fmla="*/ 1159383 h 1600200"/>
                <a:gd name="connsiteX265" fmla="*/ 998220 w 1739455"/>
                <a:gd name="connsiteY265" fmla="*/ 1159859 h 1600200"/>
                <a:gd name="connsiteX266" fmla="*/ 998220 w 1739455"/>
                <a:gd name="connsiteY266" fmla="*/ 1159859 h 1600200"/>
                <a:gd name="connsiteX267" fmla="*/ 999554 w 1739455"/>
                <a:gd name="connsiteY267" fmla="*/ 1160336 h 1600200"/>
                <a:gd name="connsiteX268" fmla="*/ 999554 w 1739455"/>
                <a:gd name="connsiteY268" fmla="*/ 1160336 h 1600200"/>
                <a:gd name="connsiteX269" fmla="*/ 1000887 w 1739455"/>
                <a:gd name="connsiteY269" fmla="*/ 1160717 h 1600200"/>
                <a:gd name="connsiteX270" fmla="*/ 1000887 w 1739455"/>
                <a:gd name="connsiteY270" fmla="*/ 1160717 h 1600200"/>
                <a:gd name="connsiteX271" fmla="*/ 1002221 w 1739455"/>
                <a:gd name="connsiteY271" fmla="*/ 1161098 h 1600200"/>
                <a:gd name="connsiteX272" fmla="*/ 1002221 w 1739455"/>
                <a:gd name="connsiteY272" fmla="*/ 1161098 h 1600200"/>
                <a:gd name="connsiteX273" fmla="*/ 1003554 w 1739455"/>
                <a:gd name="connsiteY273" fmla="*/ 1161479 h 1600200"/>
                <a:gd name="connsiteX274" fmla="*/ 1003554 w 1739455"/>
                <a:gd name="connsiteY274" fmla="*/ 1161479 h 1600200"/>
                <a:gd name="connsiteX275" fmla="*/ 1004983 w 1739455"/>
                <a:gd name="connsiteY275" fmla="*/ 1161764 h 1600200"/>
                <a:gd name="connsiteX276" fmla="*/ 1004983 w 1739455"/>
                <a:gd name="connsiteY276" fmla="*/ 1161764 h 1600200"/>
                <a:gd name="connsiteX277" fmla="*/ 1006412 w 1739455"/>
                <a:gd name="connsiteY277" fmla="*/ 1162050 h 1600200"/>
                <a:gd name="connsiteX278" fmla="*/ 1006412 w 1739455"/>
                <a:gd name="connsiteY278" fmla="*/ 1162050 h 1600200"/>
                <a:gd name="connsiteX279" fmla="*/ 1007840 w 1739455"/>
                <a:gd name="connsiteY279" fmla="*/ 1162336 h 1600200"/>
                <a:gd name="connsiteX280" fmla="*/ 1007840 w 1739455"/>
                <a:gd name="connsiteY280" fmla="*/ 1162336 h 1600200"/>
                <a:gd name="connsiteX281" fmla="*/ 1009269 w 1739455"/>
                <a:gd name="connsiteY281" fmla="*/ 1162526 h 1600200"/>
                <a:gd name="connsiteX282" fmla="*/ 1009269 w 1739455"/>
                <a:gd name="connsiteY282" fmla="*/ 1162526 h 1600200"/>
                <a:gd name="connsiteX283" fmla="*/ 1010698 w 1739455"/>
                <a:gd name="connsiteY283" fmla="*/ 1162717 h 1600200"/>
                <a:gd name="connsiteX284" fmla="*/ 1010698 w 1739455"/>
                <a:gd name="connsiteY284" fmla="*/ 1162717 h 1600200"/>
                <a:gd name="connsiteX285" fmla="*/ 1012127 w 1739455"/>
                <a:gd name="connsiteY285" fmla="*/ 1162812 h 1600200"/>
                <a:gd name="connsiteX286" fmla="*/ 1012127 w 1739455"/>
                <a:gd name="connsiteY286" fmla="*/ 1162812 h 1600200"/>
                <a:gd name="connsiteX287" fmla="*/ 1013555 w 1739455"/>
                <a:gd name="connsiteY287" fmla="*/ 1162907 h 1600200"/>
                <a:gd name="connsiteX288" fmla="*/ 1013555 w 1739455"/>
                <a:gd name="connsiteY288" fmla="*/ 1162907 h 1600200"/>
                <a:gd name="connsiteX289" fmla="*/ 1014031 w 1739455"/>
                <a:gd name="connsiteY289" fmla="*/ 1162907 h 1600200"/>
                <a:gd name="connsiteX290" fmla="*/ 1017175 w 1739455"/>
                <a:gd name="connsiteY290" fmla="*/ 1163003 h 1600200"/>
                <a:gd name="connsiteX291" fmla="*/ 1047560 w 1739455"/>
                <a:gd name="connsiteY291" fmla="*/ 1163003 h 1600200"/>
                <a:gd name="connsiteX292" fmla="*/ 1199483 w 1739455"/>
                <a:gd name="connsiteY292" fmla="*/ 1163003 h 1600200"/>
                <a:gd name="connsiteX293" fmla="*/ 1280446 w 1739455"/>
                <a:gd name="connsiteY293" fmla="*/ 1243965 h 1600200"/>
                <a:gd name="connsiteX294" fmla="*/ 1280446 w 1739455"/>
                <a:gd name="connsiteY294" fmla="*/ 1375886 h 1600200"/>
                <a:gd name="connsiteX295" fmla="*/ 1280446 w 1739455"/>
                <a:gd name="connsiteY295" fmla="*/ 1539431 h 1600200"/>
                <a:gd name="connsiteX296" fmla="*/ 1280446 w 1739455"/>
                <a:gd name="connsiteY296" fmla="*/ 1542574 h 1600200"/>
                <a:gd name="connsiteX297" fmla="*/ 1338072 w 1739455"/>
                <a:gd name="connsiteY297" fmla="*/ 1600200 h 1600200"/>
                <a:gd name="connsiteX298" fmla="*/ 1358075 w 1739455"/>
                <a:gd name="connsiteY298" fmla="*/ 1600200 h 1600200"/>
                <a:gd name="connsiteX299" fmla="*/ 1415701 w 1739455"/>
                <a:gd name="connsiteY299" fmla="*/ 1542574 h 1600200"/>
                <a:gd name="connsiteX300" fmla="*/ 1415701 w 1739455"/>
                <a:gd name="connsiteY300" fmla="*/ 1534477 h 1600200"/>
                <a:gd name="connsiteX301" fmla="*/ 1496663 w 1739455"/>
                <a:gd name="connsiteY301" fmla="*/ 1453515 h 1600200"/>
                <a:gd name="connsiteX302" fmla="*/ 1527239 w 1739455"/>
                <a:gd name="connsiteY302" fmla="*/ 1453515 h 1600200"/>
                <a:gd name="connsiteX303" fmla="*/ 1584865 w 1739455"/>
                <a:gd name="connsiteY303" fmla="*/ 1395889 h 1600200"/>
                <a:gd name="connsiteX304" fmla="*/ 1584865 w 1739455"/>
                <a:gd name="connsiteY304" fmla="*/ 1375886 h 1600200"/>
                <a:gd name="connsiteX305" fmla="*/ 1546765 w 1739455"/>
                <a:gd name="connsiteY305" fmla="*/ 1321689 h 1600200"/>
                <a:gd name="connsiteX306" fmla="*/ 1477518 w 1739455"/>
                <a:gd name="connsiteY306" fmla="*/ 1318070 h 1600200"/>
                <a:gd name="connsiteX307" fmla="*/ 1429988 w 1739455"/>
                <a:gd name="connsiteY307" fmla="*/ 1231487 h 1600200"/>
                <a:gd name="connsiteX308" fmla="*/ 1498759 w 1739455"/>
                <a:gd name="connsiteY308" fmla="*/ 1164527 h 1600200"/>
                <a:gd name="connsiteX309" fmla="*/ 1681829 w 1739455"/>
                <a:gd name="connsiteY309" fmla="*/ 1164527 h 1600200"/>
                <a:gd name="connsiteX310" fmla="*/ 1739456 w 1739455"/>
                <a:gd name="connsiteY310" fmla="*/ 1106900 h 1600200"/>
                <a:gd name="connsiteX311" fmla="*/ 1739456 w 1739455"/>
                <a:gd name="connsiteY311" fmla="*/ 1086898 h 1600200"/>
                <a:gd name="connsiteX312" fmla="*/ 1681829 w 1739455"/>
                <a:gd name="connsiteY312" fmla="*/ 1029272 h 1600200"/>
                <a:gd name="connsiteX313" fmla="*/ 1498854 w 1739455"/>
                <a:gd name="connsiteY313" fmla="*/ 1029272 h 1600200"/>
                <a:gd name="connsiteX314" fmla="*/ 1417892 w 1739455"/>
                <a:gd name="connsiteY314" fmla="*/ 948309 h 1600200"/>
                <a:gd name="connsiteX315" fmla="*/ 1417892 w 1739455"/>
                <a:gd name="connsiteY315" fmla="*/ 942594 h 1600200"/>
                <a:gd name="connsiteX316" fmla="*/ 1360265 w 1739455"/>
                <a:gd name="connsiteY316" fmla="*/ 884968 h 1600200"/>
                <a:gd name="connsiteX317" fmla="*/ 1186148 w 1739455"/>
                <a:gd name="connsiteY317" fmla="*/ 884968 h 1600200"/>
                <a:gd name="connsiteX318" fmla="*/ 1105186 w 1739455"/>
                <a:gd name="connsiteY318" fmla="*/ 804005 h 1600200"/>
                <a:gd name="connsiteX319" fmla="*/ 1105186 w 1739455"/>
                <a:gd name="connsiteY319" fmla="*/ 646176 h 1600200"/>
                <a:gd name="connsiteX320" fmla="*/ 1097089 w 1739455"/>
                <a:gd name="connsiteY320" fmla="*/ 616839 h 1600200"/>
                <a:gd name="connsiteX321" fmla="*/ 1096423 w 1739455"/>
                <a:gd name="connsiteY321" fmla="*/ 615696 h 1600200"/>
                <a:gd name="connsiteX322" fmla="*/ 1046417 w 1739455"/>
                <a:gd name="connsiteY322" fmla="*/ 586550 h 1600200"/>
                <a:gd name="connsiteX323" fmla="*/ 1024128 w 1739455"/>
                <a:gd name="connsiteY323" fmla="*/ 586550 h 1600200"/>
                <a:gd name="connsiteX324" fmla="*/ 943165 w 1739455"/>
                <a:gd name="connsiteY324" fmla="*/ 505587 h 1600200"/>
                <a:gd name="connsiteX325" fmla="*/ 943165 w 1739455"/>
                <a:gd name="connsiteY325" fmla="*/ 505206 h 1600200"/>
                <a:gd name="connsiteX326" fmla="*/ 885539 w 1739455"/>
                <a:gd name="connsiteY326" fmla="*/ 446818 h 1600200"/>
                <a:gd name="connsiteX327" fmla="*/ 844772 w 1739455"/>
                <a:gd name="connsiteY327" fmla="*/ 445580 h 1600200"/>
                <a:gd name="connsiteX328" fmla="*/ 795242 w 1739455"/>
                <a:gd name="connsiteY328" fmla="*/ 388525 h 1600200"/>
                <a:gd name="connsiteX329" fmla="*/ 795242 w 1739455"/>
                <a:gd name="connsiteY329" fmla="*/ 368522 h 1600200"/>
                <a:gd name="connsiteX330" fmla="*/ 852869 w 1739455"/>
                <a:gd name="connsiteY330" fmla="*/ 310896 h 1600200"/>
                <a:gd name="connsiteX331" fmla="*/ 952119 w 1739455"/>
                <a:gd name="connsiteY331" fmla="*/ 310896 h 1600200"/>
                <a:gd name="connsiteX332" fmla="*/ 951167 w 1739455"/>
                <a:gd name="connsiteY332" fmla="*/ 57626 h 1600200"/>
                <a:gd name="connsiteX333" fmla="*/ 893540 w 1739455"/>
                <a:gd name="connsiteY333" fmla="*/ 0 h 1600200"/>
                <a:gd name="connsiteX334" fmla="*/ 214598 w 1739455"/>
                <a:gd name="connsiteY334" fmla="*/ 0 h 1600200"/>
                <a:gd name="connsiteX335" fmla="*/ 157353 w 1739455"/>
                <a:gd name="connsiteY335" fmla="*/ 51149 h 1600200"/>
                <a:gd name="connsiteX336" fmla="*/ 157353 w 1739455"/>
                <a:gd name="connsiteY336" fmla="*/ 93059 h 1600200"/>
                <a:gd name="connsiteX337" fmla="*/ 99727 w 1739455"/>
                <a:gd name="connsiteY337" fmla="*/ 150686 h 1600200"/>
                <a:gd name="connsiteX338" fmla="*/ 0 w 1739455"/>
                <a:gd name="connsiteY338" fmla="*/ 150686 h 1600200"/>
                <a:gd name="connsiteX339" fmla="*/ 476 w 1739455"/>
                <a:gd name="connsiteY339" fmla="*/ 514921 h 1600200"/>
                <a:gd name="connsiteX340" fmla="*/ 476 w 1739455"/>
                <a:gd name="connsiteY340" fmla="*/ 514921 h 1600200"/>
                <a:gd name="connsiteX341" fmla="*/ 959358 w 1739455"/>
                <a:gd name="connsiteY341" fmla="*/ 1105281 h 1600200"/>
                <a:gd name="connsiteX342" fmla="*/ 959358 w 1739455"/>
                <a:gd name="connsiteY342" fmla="*/ 1105281 h 1600200"/>
                <a:gd name="connsiteX343" fmla="*/ 959358 w 1739455"/>
                <a:gd name="connsiteY343" fmla="*/ 1105281 h 1600200"/>
                <a:gd name="connsiteX344" fmla="*/ 959358 w 1739455"/>
                <a:gd name="connsiteY344" fmla="*/ 1105281 h 1600200"/>
                <a:gd name="connsiteX345" fmla="*/ 486156 w 1739455"/>
                <a:gd name="connsiteY345" fmla="*/ 672655 h 1600200"/>
                <a:gd name="connsiteX346" fmla="*/ 486156 w 1739455"/>
                <a:gd name="connsiteY346" fmla="*/ 672655 h 1600200"/>
                <a:gd name="connsiteX347" fmla="*/ 486156 w 1739455"/>
                <a:gd name="connsiteY347" fmla="*/ 672655 h 1600200"/>
                <a:gd name="connsiteX348" fmla="*/ 486156 w 1739455"/>
                <a:gd name="connsiteY348" fmla="*/ 672655 h 1600200"/>
                <a:gd name="connsiteX349" fmla="*/ 647033 w 1739455"/>
                <a:gd name="connsiteY349" fmla="*/ 814769 h 1600200"/>
                <a:gd name="connsiteX350" fmla="*/ 647033 w 1739455"/>
                <a:gd name="connsiteY350" fmla="*/ 814769 h 1600200"/>
                <a:gd name="connsiteX351" fmla="*/ 647033 w 1739455"/>
                <a:gd name="connsiteY351" fmla="*/ 814769 h 1600200"/>
                <a:gd name="connsiteX352" fmla="*/ 647033 w 1739455"/>
                <a:gd name="connsiteY352" fmla="*/ 814769 h 1600200"/>
                <a:gd name="connsiteX353" fmla="*/ 793813 w 1739455"/>
                <a:gd name="connsiteY353" fmla="*/ 956881 h 1600200"/>
                <a:gd name="connsiteX354" fmla="*/ 793813 w 1739455"/>
                <a:gd name="connsiteY354" fmla="*/ 956881 h 1600200"/>
                <a:gd name="connsiteX355" fmla="*/ 793813 w 1739455"/>
                <a:gd name="connsiteY355" fmla="*/ 956881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1739455" h="1600200">
                  <a:moveTo>
                    <a:pt x="476" y="514921"/>
                  </a:moveTo>
                  <a:cubicBezTo>
                    <a:pt x="0" y="531686"/>
                    <a:pt x="10001" y="442722"/>
                    <a:pt x="48006" y="442722"/>
                  </a:cubicBezTo>
                  <a:lnTo>
                    <a:pt x="234791" y="442722"/>
                  </a:lnTo>
                  <a:cubicBezTo>
                    <a:pt x="271939" y="443389"/>
                    <a:pt x="319373" y="430435"/>
                    <a:pt x="319373" y="508063"/>
                  </a:cubicBezTo>
                  <a:lnTo>
                    <a:pt x="319373" y="527018"/>
                  </a:lnTo>
                  <a:cubicBezTo>
                    <a:pt x="319373" y="558737"/>
                    <a:pt x="345281" y="584645"/>
                    <a:pt x="377000" y="584645"/>
                  </a:cubicBezTo>
                  <a:lnTo>
                    <a:pt x="405098" y="584645"/>
                  </a:lnTo>
                  <a:cubicBezTo>
                    <a:pt x="449675" y="584645"/>
                    <a:pt x="486061" y="621030"/>
                    <a:pt x="486061" y="665607"/>
                  </a:cubicBezTo>
                  <a:lnTo>
                    <a:pt x="486061" y="672751"/>
                  </a:lnTo>
                  <a:lnTo>
                    <a:pt x="486061" y="674275"/>
                  </a:lnTo>
                  <a:lnTo>
                    <a:pt x="486061" y="674275"/>
                  </a:lnTo>
                  <a:lnTo>
                    <a:pt x="486156" y="675704"/>
                  </a:lnTo>
                  <a:lnTo>
                    <a:pt x="486156" y="675704"/>
                  </a:lnTo>
                  <a:lnTo>
                    <a:pt x="486251" y="677132"/>
                  </a:lnTo>
                  <a:lnTo>
                    <a:pt x="486251" y="677132"/>
                  </a:lnTo>
                  <a:lnTo>
                    <a:pt x="486346" y="678561"/>
                  </a:lnTo>
                  <a:lnTo>
                    <a:pt x="486346" y="678561"/>
                  </a:lnTo>
                  <a:lnTo>
                    <a:pt x="486537" y="679990"/>
                  </a:lnTo>
                  <a:lnTo>
                    <a:pt x="486537" y="679990"/>
                  </a:lnTo>
                  <a:lnTo>
                    <a:pt x="486728" y="681419"/>
                  </a:lnTo>
                  <a:lnTo>
                    <a:pt x="486728" y="681419"/>
                  </a:lnTo>
                  <a:lnTo>
                    <a:pt x="486918" y="682847"/>
                  </a:lnTo>
                  <a:lnTo>
                    <a:pt x="486918" y="682847"/>
                  </a:lnTo>
                  <a:cubicBezTo>
                    <a:pt x="489395" y="697039"/>
                    <a:pt x="497586" y="709994"/>
                    <a:pt x="509206" y="718852"/>
                  </a:cubicBezTo>
                  <a:lnTo>
                    <a:pt x="509206" y="718852"/>
                  </a:lnTo>
                  <a:lnTo>
                    <a:pt x="510350" y="719709"/>
                  </a:lnTo>
                  <a:lnTo>
                    <a:pt x="510350" y="719709"/>
                  </a:lnTo>
                  <a:lnTo>
                    <a:pt x="511493" y="720471"/>
                  </a:lnTo>
                  <a:lnTo>
                    <a:pt x="511493" y="720471"/>
                  </a:lnTo>
                  <a:lnTo>
                    <a:pt x="512636" y="721233"/>
                  </a:lnTo>
                  <a:lnTo>
                    <a:pt x="512636" y="721233"/>
                  </a:lnTo>
                  <a:lnTo>
                    <a:pt x="513779" y="721995"/>
                  </a:lnTo>
                  <a:lnTo>
                    <a:pt x="513779" y="721995"/>
                  </a:lnTo>
                  <a:lnTo>
                    <a:pt x="514350" y="722281"/>
                  </a:lnTo>
                  <a:cubicBezTo>
                    <a:pt x="514826" y="722567"/>
                    <a:pt x="515207" y="722757"/>
                    <a:pt x="515684" y="723043"/>
                  </a:cubicBezTo>
                  <a:lnTo>
                    <a:pt x="516255" y="723329"/>
                  </a:lnTo>
                  <a:lnTo>
                    <a:pt x="516255" y="723329"/>
                  </a:lnTo>
                  <a:lnTo>
                    <a:pt x="517493" y="723995"/>
                  </a:lnTo>
                  <a:lnTo>
                    <a:pt x="517493" y="723995"/>
                  </a:lnTo>
                  <a:lnTo>
                    <a:pt x="518731" y="724662"/>
                  </a:lnTo>
                  <a:lnTo>
                    <a:pt x="518731" y="724662"/>
                  </a:lnTo>
                  <a:lnTo>
                    <a:pt x="519970" y="725234"/>
                  </a:lnTo>
                  <a:lnTo>
                    <a:pt x="519970" y="725234"/>
                  </a:lnTo>
                  <a:cubicBezTo>
                    <a:pt x="520351" y="725424"/>
                    <a:pt x="520827" y="725614"/>
                    <a:pt x="521208" y="725805"/>
                  </a:cubicBezTo>
                  <a:lnTo>
                    <a:pt x="521208" y="725805"/>
                  </a:lnTo>
                  <a:lnTo>
                    <a:pt x="522542" y="726377"/>
                  </a:lnTo>
                  <a:lnTo>
                    <a:pt x="522542" y="726377"/>
                  </a:lnTo>
                  <a:lnTo>
                    <a:pt x="523875" y="726853"/>
                  </a:lnTo>
                  <a:lnTo>
                    <a:pt x="523875" y="726853"/>
                  </a:lnTo>
                  <a:lnTo>
                    <a:pt x="525209" y="727329"/>
                  </a:lnTo>
                  <a:lnTo>
                    <a:pt x="525209" y="727329"/>
                  </a:lnTo>
                  <a:lnTo>
                    <a:pt x="525494" y="727424"/>
                  </a:lnTo>
                  <a:cubicBezTo>
                    <a:pt x="526256" y="727615"/>
                    <a:pt x="526828" y="727805"/>
                    <a:pt x="527590" y="728091"/>
                  </a:cubicBezTo>
                  <a:lnTo>
                    <a:pt x="527876" y="728186"/>
                  </a:lnTo>
                  <a:lnTo>
                    <a:pt x="527876" y="728186"/>
                  </a:lnTo>
                  <a:lnTo>
                    <a:pt x="529209" y="728567"/>
                  </a:lnTo>
                  <a:lnTo>
                    <a:pt x="529209" y="728567"/>
                  </a:lnTo>
                  <a:lnTo>
                    <a:pt x="530543" y="728948"/>
                  </a:lnTo>
                  <a:lnTo>
                    <a:pt x="530543" y="728948"/>
                  </a:lnTo>
                  <a:lnTo>
                    <a:pt x="531971" y="729234"/>
                  </a:lnTo>
                  <a:lnTo>
                    <a:pt x="531971" y="729234"/>
                  </a:lnTo>
                  <a:cubicBezTo>
                    <a:pt x="532447" y="729329"/>
                    <a:pt x="532924" y="729425"/>
                    <a:pt x="533400" y="729520"/>
                  </a:cubicBezTo>
                  <a:lnTo>
                    <a:pt x="533400" y="729520"/>
                  </a:lnTo>
                  <a:lnTo>
                    <a:pt x="533686" y="729520"/>
                  </a:lnTo>
                  <a:cubicBezTo>
                    <a:pt x="534543" y="729615"/>
                    <a:pt x="535210" y="729805"/>
                    <a:pt x="536067" y="729901"/>
                  </a:cubicBezTo>
                  <a:lnTo>
                    <a:pt x="536353" y="729901"/>
                  </a:lnTo>
                  <a:lnTo>
                    <a:pt x="536353" y="729901"/>
                  </a:lnTo>
                  <a:lnTo>
                    <a:pt x="537781" y="730091"/>
                  </a:lnTo>
                  <a:lnTo>
                    <a:pt x="537781" y="730091"/>
                  </a:lnTo>
                  <a:lnTo>
                    <a:pt x="539210" y="730187"/>
                  </a:lnTo>
                  <a:lnTo>
                    <a:pt x="539210" y="730187"/>
                  </a:lnTo>
                  <a:lnTo>
                    <a:pt x="540639" y="730282"/>
                  </a:lnTo>
                  <a:lnTo>
                    <a:pt x="540639" y="730282"/>
                  </a:lnTo>
                  <a:lnTo>
                    <a:pt x="541115" y="730282"/>
                  </a:lnTo>
                  <a:cubicBezTo>
                    <a:pt x="542258" y="730282"/>
                    <a:pt x="543115" y="730377"/>
                    <a:pt x="544259" y="730377"/>
                  </a:cubicBezTo>
                  <a:lnTo>
                    <a:pt x="563594" y="730377"/>
                  </a:lnTo>
                  <a:lnTo>
                    <a:pt x="565880" y="730377"/>
                  </a:lnTo>
                  <a:cubicBezTo>
                    <a:pt x="610457" y="730377"/>
                    <a:pt x="646843" y="766763"/>
                    <a:pt x="646843" y="811339"/>
                  </a:cubicBezTo>
                  <a:lnTo>
                    <a:pt x="646843" y="814864"/>
                  </a:lnTo>
                  <a:lnTo>
                    <a:pt x="646843" y="816388"/>
                  </a:lnTo>
                  <a:lnTo>
                    <a:pt x="646843" y="816388"/>
                  </a:lnTo>
                  <a:lnTo>
                    <a:pt x="646938" y="817817"/>
                  </a:lnTo>
                  <a:lnTo>
                    <a:pt x="646938" y="817817"/>
                  </a:lnTo>
                  <a:lnTo>
                    <a:pt x="647033" y="819245"/>
                  </a:lnTo>
                  <a:lnTo>
                    <a:pt x="647033" y="819245"/>
                  </a:lnTo>
                  <a:lnTo>
                    <a:pt x="647129" y="820674"/>
                  </a:lnTo>
                  <a:lnTo>
                    <a:pt x="647129" y="820674"/>
                  </a:lnTo>
                  <a:lnTo>
                    <a:pt x="647319" y="822103"/>
                  </a:lnTo>
                  <a:lnTo>
                    <a:pt x="647319" y="822103"/>
                  </a:lnTo>
                  <a:lnTo>
                    <a:pt x="647510" y="823531"/>
                  </a:lnTo>
                  <a:lnTo>
                    <a:pt x="647510" y="823531"/>
                  </a:lnTo>
                  <a:lnTo>
                    <a:pt x="647795" y="824960"/>
                  </a:lnTo>
                  <a:lnTo>
                    <a:pt x="647795" y="824960"/>
                  </a:lnTo>
                  <a:cubicBezTo>
                    <a:pt x="647890" y="825437"/>
                    <a:pt x="647986" y="825913"/>
                    <a:pt x="648081" y="826389"/>
                  </a:cubicBezTo>
                  <a:lnTo>
                    <a:pt x="648081" y="826389"/>
                  </a:lnTo>
                  <a:lnTo>
                    <a:pt x="648367" y="827818"/>
                  </a:lnTo>
                  <a:lnTo>
                    <a:pt x="648367" y="827818"/>
                  </a:lnTo>
                  <a:lnTo>
                    <a:pt x="648748" y="829247"/>
                  </a:lnTo>
                  <a:lnTo>
                    <a:pt x="648748" y="829247"/>
                  </a:lnTo>
                  <a:cubicBezTo>
                    <a:pt x="654939" y="852392"/>
                    <a:pt x="675227" y="870204"/>
                    <a:pt x="700088" y="872300"/>
                  </a:cubicBezTo>
                  <a:lnTo>
                    <a:pt x="700088" y="872300"/>
                  </a:lnTo>
                  <a:lnTo>
                    <a:pt x="701516" y="872395"/>
                  </a:lnTo>
                  <a:lnTo>
                    <a:pt x="701516" y="872395"/>
                  </a:lnTo>
                  <a:lnTo>
                    <a:pt x="701993" y="872395"/>
                  </a:lnTo>
                  <a:cubicBezTo>
                    <a:pt x="703136" y="872395"/>
                    <a:pt x="703993" y="872490"/>
                    <a:pt x="705136" y="872490"/>
                  </a:cubicBezTo>
                  <a:lnTo>
                    <a:pt x="712565" y="872490"/>
                  </a:lnTo>
                  <a:cubicBezTo>
                    <a:pt x="757142" y="872490"/>
                    <a:pt x="793528" y="908876"/>
                    <a:pt x="793528" y="953453"/>
                  </a:cubicBezTo>
                  <a:lnTo>
                    <a:pt x="793528" y="956977"/>
                  </a:lnTo>
                  <a:lnTo>
                    <a:pt x="793528" y="958501"/>
                  </a:lnTo>
                  <a:lnTo>
                    <a:pt x="793528" y="958501"/>
                  </a:lnTo>
                  <a:lnTo>
                    <a:pt x="793623" y="959930"/>
                  </a:lnTo>
                  <a:lnTo>
                    <a:pt x="793623" y="959930"/>
                  </a:lnTo>
                  <a:lnTo>
                    <a:pt x="793718" y="961358"/>
                  </a:lnTo>
                  <a:lnTo>
                    <a:pt x="793718" y="961358"/>
                  </a:lnTo>
                  <a:lnTo>
                    <a:pt x="793813" y="962787"/>
                  </a:lnTo>
                  <a:lnTo>
                    <a:pt x="793813" y="962787"/>
                  </a:lnTo>
                  <a:lnTo>
                    <a:pt x="794004" y="964216"/>
                  </a:lnTo>
                  <a:lnTo>
                    <a:pt x="794004" y="964216"/>
                  </a:lnTo>
                  <a:lnTo>
                    <a:pt x="794195" y="965645"/>
                  </a:lnTo>
                  <a:lnTo>
                    <a:pt x="794195" y="965645"/>
                  </a:lnTo>
                  <a:cubicBezTo>
                    <a:pt x="797147" y="983361"/>
                    <a:pt x="807530" y="998315"/>
                    <a:pt x="823151" y="1007269"/>
                  </a:cubicBezTo>
                  <a:lnTo>
                    <a:pt x="823722" y="1007555"/>
                  </a:lnTo>
                  <a:lnTo>
                    <a:pt x="823722" y="1007555"/>
                  </a:lnTo>
                  <a:lnTo>
                    <a:pt x="824960" y="1008221"/>
                  </a:lnTo>
                  <a:lnTo>
                    <a:pt x="824960" y="1008221"/>
                  </a:lnTo>
                  <a:lnTo>
                    <a:pt x="826198" y="1008888"/>
                  </a:lnTo>
                  <a:lnTo>
                    <a:pt x="826198" y="1008888"/>
                  </a:lnTo>
                  <a:lnTo>
                    <a:pt x="827437" y="1009460"/>
                  </a:lnTo>
                  <a:lnTo>
                    <a:pt x="827437" y="1009460"/>
                  </a:lnTo>
                  <a:cubicBezTo>
                    <a:pt x="827818" y="1009650"/>
                    <a:pt x="828294" y="1009841"/>
                    <a:pt x="828675" y="1010031"/>
                  </a:cubicBezTo>
                  <a:lnTo>
                    <a:pt x="828675" y="1010031"/>
                  </a:lnTo>
                  <a:lnTo>
                    <a:pt x="830009" y="1010603"/>
                  </a:lnTo>
                  <a:lnTo>
                    <a:pt x="830009" y="1010603"/>
                  </a:lnTo>
                  <a:lnTo>
                    <a:pt x="831342" y="1011079"/>
                  </a:lnTo>
                  <a:lnTo>
                    <a:pt x="831342" y="1011079"/>
                  </a:lnTo>
                  <a:lnTo>
                    <a:pt x="832676" y="1011555"/>
                  </a:lnTo>
                  <a:lnTo>
                    <a:pt x="832676" y="1011555"/>
                  </a:lnTo>
                  <a:lnTo>
                    <a:pt x="832961" y="1011650"/>
                  </a:lnTo>
                  <a:cubicBezTo>
                    <a:pt x="833723" y="1011841"/>
                    <a:pt x="834295" y="1012031"/>
                    <a:pt x="835057" y="1012317"/>
                  </a:cubicBezTo>
                  <a:lnTo>
                    <a:pt x="835343" y="1012412"/>
                  </a:lnTo>
                  <a:lnTo>
                    <a:pt x="835343" y="1012412"/>
                  </a:lnTo>
                  <a:lnTo>
                    <a:pt x="836676" y="1012793"/>
                  </a:lnTo>
                  <a:lnTo>
                    <a:pt x="836676" y="1012793"/>
                  </a:lnTo>
                  <a:lnTo>
                    <a:pt x="838010" y="1013174"/>
                  </a:lnTo>
                  <a:lnTo>
                    <a:pt x="838010" y="1013174"/>
                  </a:lnTo>
                  <a:lnTo>
                    <a:pt x="839438" y="1013460"/>
                  </a:lnTo>
                  <a:lnTo>
                    <a:pt x="839438" y="1013460"/>
                  </a:lnTo>
                  <a:cubicBezTo>
                    <a:pt x="839914" y="1013555"/>
                    <a:pt x="840391" y="1013651"/>
                    <a:pt x="840867" y="1013746"/>
                  </a:cubicBezTo>
                  <a:lnTo>
                    <a:pt x="840867" y="1013746"/>
                  </a:lnTo>
                  <a:lnTo>
                    <a:pt x="841153" y="1013746"/>
                  </a:lnTo>
                  <a:cubicBezTo>
                    <a:pt x="842010" y="1013841"/>
                    <a:pt x="842677" y="1014031"/>
                    <a:pt x="843534" y="1014127"/>
                  </a:cubicBezTo>
                  <a:lnTo>
                    <a:pt x="843820" y="1014127"/>
                  </a:lnTo>
                  <a:lnTo>
                    <a:pt x="843820" y="1014127"/>
                  </a:lnTo>
                  <a:lnTo>
                    <a:pt x="845248" y="1014317"/>
                  </a:lnTo>
                  <a:lnTo>
                    <a:pt x="845248" y="1014317"/>
                  </a:lnTo>
                  <a:lnTo>
                    <a:pt x="846677" y="1014413"/>
                  </a:lnTo>
                  <a:lnTo>
                    <a:pt x="846677" y="1014413"/>
                  </a:lnTo>
                  <a:lnTo>
                    <a:pt x="848106" y="1014508"/>
                  </a:lnTo>
                  <a:lnTo>
                    <a:pt x="848106" y="1014508"/>
                  </a:lnTo>
                  <a:lnTo>
                    <a:pt x="848582" y="1014508"/>
                  </a:lnTo>
                  <a:cubicBezTo>
                    <a:pt x="849725" y="1014508"/>
                    <a:pt x="850583" y="1014603"/>
                    <a:pt x="851726" y="1014603"/>
                  </a:cubicBezTo>
                  <a:lnTo>
                    <a:pt x="871156" y="1014603"/>
                  </a:lnTo>
                  <a:lnTo>
                    <a:pt x="878110" y="1014603"/>
                  </a:lnTo>
                  <a:cubicBezTo>
                    <a:pt x="922687" y="1014603"/>
                    <a:pt x="959072" y="1050989"/>
                    <a:pt x="959072" y="1095566"/>
                  </a:cubicBezTo>
                  <a:lnTo>
                    <a:pt x="959072" y="1105376"/>
                  </a:lnTo>
                  <a:lnTo>
                    <a:pt x="959072" y="1106805"/>
                  </a:lnTo>
                  <a:lnTo>
                    <a:pt x="959072" y="1106805"/>
                  </a:lnTo>
                  <a:lnTo>
                    <a:pt x="959168" y="1108234"/>
                  </a:lnTo>
                  <a:lnTo>
                    <a:pt x="959168" y="1108234"/>
                  </a:lnTo>
                  <a:lnTo>
                    <a:pt x="959263" y="1109663"/>
                  </a:lnTo>
                  <a:lnTo>
                    <a:pt x="959263" y="1109663"/>
                  </a:lnTo>
                  <a:lnTo>
                    <a:pt x="959358" y="1111091"/>
                  </a:lnTo>
                  <a:lnTo>
                    <a:pt x="959358" y="1111091"/>
                  </a:lnTo>
                  <a:lnTo>
                    <a:pt x="959548" y="1112520"/>
                  </a:lnTo>
                  <a:lnTo>
                    <a:pt x="959548" y="1112520"/>
                  </a:lnTo>
                  <a:lnTo>
                    <a:pt x="959739" y="1113949"/>
                  </a:lnTo>
                  <a:lnTo>
                    <a:pt x="959739" y="1113949"/>
                  </a:lnTo>
                  <a:lnTo>
                    <a:pt x="959930" y="1115378"/>
                  </a:lnTo>
                  <a:lnTo>
                    <a:pt x="959930" y="1115378"/>
                  </a:lnTo>
                  <a:cubicBezTo>
                    <a:pt x="960025" y="1115854"/>
                    <a:pt x="960120" y="1116330"/>
                    <a:pt x="960215" y="1116806"/>
                  </a:cubicBezTo>
                  <a:lnTo>
                    <a:pt x="960215" y="1116806"/>
                  </a:lnTo>
                  <a:lnTo>
                    <a:pt x="960501" y="1118235"/>
                  </a:lnTo>
                  <a:lnTo>
                    <a:pt x="960501" y="1118235"/>
                  </a:lnTo>
                  <a:lnTo>
                    <a:pt x="960882" y="1119664"/>
                  </a:lnTo>
                  <a:lnTo>
                    <a:pt x="960882" y="1119664"/>
                  </a:lnTo>
                  <a:lnTo>
                    <a:pt x="961263" y="1120997"/>
                  </a:lnTo>
                  <a:lnTo>
                    <a:pt x="961263" y="1120997"/>
                  </a:lnTo>
                  <a:lnTo>
                    <a:pt x="961644" y="1122331"/>
                  </a:lnTo>
                  <a:lnTo>
                    <a:pt x="961644" y="1122331"/>
                  </a:lnTo>
                  <a:lnTo>
                    <a:pt x="962120" y="1123664"/>
                  </a:lnTo>
                  <a:lnTo>
                    <a:pt x="962120" y="1123664"/>
                  </a:lnTo>
                  <a:lnTo>
                    <a:pt x="962597" y="1124998"/>
                  </a:lnTo>
                  <a:lnTo>
                    <a:pt x="962597" y="1124998"/>
                  </a:lnTo>
                  <a:lnTo>
                    <a:pt x="963073" y="1126331"/>
                  </a:lnTo>
                  <a:lnTo>
                    <a:pt x="963073" y="1126331"/>
                  </a:lnTo>
                  <a:lnTo>
                    <a:pt x="963644" y="1127665"/>
                  </a:lnTo>
                  <a:lnTo>
                    <a:pt x="963644" y="1127665"/>
                  </a:lnTo>
                  <a:lnTo>
                    <a:pt x="964216" y="1128903"/>
                  </a:lnTo>
                  <a:lnTo>
                    <a:pt x="964216" y="1128903"/>
                  </a:lnTo>
                  <a:lnTo>
                    <a:pt x="964787" y="1130141"/>
                  </a:lnTo>
                  <a:lnTo>
                    <a:pt x="964787" y="1130141"/>
                  </a:lnTo>
                  <a:lnTo>
                    <a:pt x="965454" y="1131380"/>
                  </a:lnTo>
                  <a:lnTo>
                    <a:pt x="965454" y="1131380"/>
                  </a:lnTo>
                  <a:cubicBezTo>
                    <a:pt x="965645" y="1131761"/>
                    <a:pt x="965835" y="1132237"/>
                    <a:pt x="966121" y="1132618"/>
                  </a:cubicBezTo>
                  <a:lnTo>
                    <a:pt x="966121" y="1132618"/>
                  </a:lnTo>
                  <a:lnTo>
                    <a:pt x="966788" y="1133856"/>
                  </a:lnTo>
                  <a:lnTo>
                    <a:pt x="966788" y="1133856"/>
                  </a:lnTo>
                  <a:cubicBezTo>
                    <a:pt x="966978" y="1134237"/>
                    <a:pt x="967264" y="1134618"/>
                    <a:pt x="967454" y="1135094"/>
                  </a:cubicBezTo>
                  <a:lnTo>
                    <a:pt x="967454" y="1135094"/>
                  </a:lnTo>
                  <a:lnTo>
                    <a:pt x="968216" y="1136237"/>
                  </a:lnTo>
                  <a:lnTo>
                    <a:pt x="968216" y="1136237"/>
                  </a:lnTo>
                  <a:lnTo>
                    <a:pt x="968978" y="1137380"/>
                  </a:lnTo>
                  <a:lnTo>
                    <a:pt x="968978" y="1137380"/>
                  </a:lnTo>
                  <a:lnTo>
                    <a:pt x="969740" y="1138523"/>
                  </a:lnTo>
                  <a:lnTo>
                    <a:pt x="969740" y="1138523"/>
                  </a:lnTo>
                  <a:lnTo>
                    <a:pt x="970597" y="1139666"/>
                  </a:lnTo>
                  <a:lnTo>
                    <a:pt x="970597" y="1139666"/>
                  </a:lnTo>
                  <a:lnTo>
                    <a:pt x="971455" y="1140809"/>
                  </a:lnTo>
                  <a:lnTo>
                    <a:pt x="971455" y="1140809"/>
                  </a:lnTo>
                  <a:cubicBezTo>
                    <a:pt x="971740" y="1141190"/>
                    <a:pt x="972026" y="1141571"/>
                    <a:pt x="972312" y="1141857"/>
                  </a:cubicBezTo>
                  <a:lnTo>
                    <a:pt x="972312" y="1141857"/>
                  </a:lnTo>
                  <a:lnTo>
                    <a:pt x="973169" y="1142905"/>
                  </a:lnTo>
                  <a:lnTo>
                    <a:pt x="973169" y="1142905"/>
                  </a:lnTo>
                  <a:lnTo>
                    <a:pt x="974122" y="1143953"/>
                  </a:lnTo>
                  <a:lnTo>
                    <a:pt x="974122" y="1143953"/>
                  </a:lnTo>
                  <a:lnTo>
                    <a:pt x="975074" y="1145000"/>
                  </a:lnTo>
                  <a:lnTo>
                    <a:pt x="975074" y="1145000"/>
                  </a:lnTo>
                  <a:lnTo>
                    <a:pt x="976027" y="1145953"/>
                  </a:lnTo>
                  <a:lnTo>
                    <a:pt x="976027" y="1145953"/>
                  </a:lnTo>
                  <a:lnTo>
                    <a:pt x="976979" y="1146905"/>
                  </a:lnTo>
                  <a:lnTo>
                    <a:pt x="976979" y="1146905"/>
                  </a:lnTo>
                  <a:lnTo>
                    <a:pt x="978027" y="1147858"/>
                  </a:lnTo>
                  <a:lnTo>
                    <a:pt x="978027" y="1147858"/>
                  </a:lnTo>
                  <a:lnTo>
                    <a:pt x="979075" y="1148810"/>
                  </a:lnTo>
                  <a:lnTo>
                    <a:pt x="979075" y="1148810"/>
                  </a:lnTo>
                  <a:lnTo>
                    <a:pt x="980122" y="1149668"/>
                  </a:lnTo>
                  <a:lnTo>
                    <a:pt x="980122" y="1149668"/>
                  </a:lnTo>
                  <a:cubicBezTo>
                    <a:pt x="980504" y="1149953"/>
                    <a:pt x="980885" y="1150239"/>
                    <a:pt x="981170" y="1150525"/>
                  </a:cubicBezTo>
                  <a:lnTo>
                    <a:pt x="981170" y="1150525"/>
                  </a:lnTo>
                  <a:cubicBezTo>
                    <a:pt x="981551" y="1150811"/>
                    <a:pt x="981932" y="1151096"/>
                    <a:pt x="982218" y="1151382"/>
                  </a:cubicBezTo>
                  <a:lnTo>
                    <a:pt x="982218" y="1151382"/>
                  </a:lnTo>
                  <a:lnTo>
                    <a:pt x="983361" y="1152239"/>
                  </a:lnTo>
                  <a:lnTo>
                    <a:pt x="983361" y="1152239"/>
                  </a:lnTo>
                  <a:lnTo>
                    <a:pt x="984504" y="1153001"/>
                  </a:lnTo>
                  <a:lnTo>
                    <a:pt x="984504" y="1153001"/>
                  </a:lnTo>
                  <a:lnTo>
                    <a:pt x="985647" y="1153763"/>
                  </a:lnTo>
                  <a:lnTo>
                    <a:pt x="985647" y="1153763"/>
                  </a:lnTo>
                  <a:lnTo>
                    <a:pt x="986790" y="1154525"/>
                  </a:lnTo>
                  <a:lnTo>
                    <a:pt x="986790" y="1154525"/>
                  </a:lnTo>
                  <a:lnTo>
                    <a:pt x="988028" y="1155192"/>
                  </a:lnTo>
                  <a:lnTo>
                    <a:pt x="988028" y="1155192"/>
                  </a:lnTo>
                  <a:lnTo>
                    <a:pt x="989267" y="1155859"/>
                  </a:lnTo>
                  <a:lnTo>
                    <a:pt x="989267" y="1155859"/>
                  </a:lnTo>
                  <a:lnTo>
                    <a:pt x="990505" y="1156526"/>
                  </a:lnTo>
                  <a:lnTo>
                    <a:pt x="990505" y="1156526"/>
                  </a:lnTo>
                  <a:lnTo>
                    <a:pt x="991743" y="1157192"/>
                  </a:lnTo>
                  <a:lnTo>
                    <a:pt x="991743" y="1157192"/>
                  </a:lnTo>
                  <a:lnTo>
                    <a:pt x="992981" y="1157764"/>
                  </a:lnTo>
                  <a:lnTo>
                    <a:pt x="992981" y="1157764"/>
                  </a:lnTo>
                  <a:cubicBezTo>
                    <a:pt x="993362" y="1157954"/>
                    <a:pt x="993838" y="1158145"/>
                    <a:pt x="994220" y="1158335"/>
                  </a:cubicBezTo>
                  <a:lnTo>
                    <a:pt x="994220" y="1158335"/>
                  </a:lnTo>
                  <a:lnTo>
                    <a:pt x="995553" y="1158907"/>
                  </a:lnTo>
                  <a:lnTo>
                    <a:pt x="995553" y="1158907"/>
                  </a:lnTo>
                  <a:lnTo>
                    <a:pt x="996887" y="1159383"/>
                  </a:lnTo>
                  <a:lnTo>
                    <a:pt x="996887" y="1159383"/>
                  </a:lnTo>
                  <a:lnTo>
                    <a:pt x="998220" y="1159859"/>
                  </a:lnTo>
                  <a:lnTo>
                    <a:pt x="998220" y="1159859"/>
                  </a:lnTo>
                  <a:lnTo>
                    <a:pt x="999554" y="1160336"/>
                  </a:lnTo>
                  <a:lnTo>
                    <a:pt x="999554" y="1160336"/>
                  </a:lnTo>
                  <a:lnTo>
                    <a:pt x="1000887" y="1160717"/>
                  </a:lnTo>
                  <a:lnTo>
                    <a:pt x="1000887" y="1160717"/>
                  </a:lnTo>
                  <a:lnTo>
                    <a:pt x="1002221" y="1161098"/>
                  </a:lnTo>
                  <a:lnTo>
                    <a:pt x="1002221" y="1161098"/>
                  </a:lnTo>
                  <a:lnTo>
                    <a:pt x="1003554" y="1161479"/>
                  </a:lnTo>
                  <a:lnTo>
                    <a:pt x="1003554" y="1161479"/>
                  </a:lnTo>
                  <a:lnTo>
                    <a:pt x="1004983" y="1161764"/>
                  </a:lnTo>
                  <a:lnTo>
                    <a:pt x="1004983" y="1161764"/>
                  </a:lnTo>
                  <a:cubicBezTo>
                    <a:pt x="1005459" y="1161860"/>
                    <a:pt x="1005935" y="1161955"/>
                    <a:pt x="1006412" y="1162050"/>
                  </a:cubicBezTo>
                  <a:lnTo>
                    <a:pt x="1006412" y="1162050"/>
                  </a:lnTo>
                  <a:lnTo>
                    <a:pt x="1007840" y="1162336"/>
                  </a:lnTo>
                  <a:lnTo>
                    <a:pt x="1007840" y="1162336"/>
                  </a:lnTo>
                  <a:lnTo>
                    <a:pt x="1009269" y="1162526"/>
                  </a:lnTo>
                  <a:lnTo>
                    <a:pt x="1009269" y="1162526"/>
                  </a:lnTo>
                  <a:lnTo>
                    <a:pt x="1010698" y="1162717"/>
                  </a:lnTo>
                  <a:lnTo>
                    <a:pt x="1010698" y="1162717"/>
                  </a:lnTo>
                  <a:lnTo>
                    <a:pt x="1012127" y="1162812"/>
                  </a:lnTo>
                  <a:lnTo>
                    <a:pt x="1012127" y="1162812"/>
                  </a:lnTo>
                  <a:lnTo>
                    <a:pt x="1013555" y="1162907"/>
                  </a:lnTo>
                  <a:lnTo>
                    <a:pt x="1013555" y="1162907"/>
                  </a:lnTo>
                  <a:lnTo>
                    <a:pt x="1014031" y="1162907"/>
                  </a:lnTo>
                  <a:cubicBezTo>
                    <a:pt x="1015079" y="1162907"/>
                    <a:pt x="1016032" y="1163003"/>
                    <a:pt x="1017175" y="1163003"/>
                  </a:cubicBezTo>
                  <a:lnTo>
                    <a:pt x="1047560" y="1163003"/>
                  </a:lnTo>
                  <a:lnTo>
                    <a:pt x="1199483" y="1163003"/>
                  </a:lnTo>
                  <a:cubicBezTo>
                    <a:pt x="1244060" y="1163003"/>
                    <a:pt x="1280446" y="1199388"/>
                    <a:pt x="1280446" y="1243965"/>
                  </a:cubicBezTo>
                  <a:lnTo>
                    <a:pt x="1280446" y="1375886"/>
                  </a:lnTo>
                  <a:lnTo>
                    <a:pt x="1280446" y="1539431"/>
                  </a:lnTo>
                  <a:lnTo>
                    <a:pt x="1280446" y="1542574"/>
                  </a:lnTo>
                  <a:cubicBezTo>
                    <a:pt x="1280446" y="1574292"/>
                    <a:pt x="1306354" y="1600200"/>
                    <a:pt x="1338072" y="1600200"/>
                  </a:cubicBezTo>
                  <a:lnTo>
                    <a:pt x="1358075" y="1600200"/>
                  </a:lnTo>
                  <a:cubicBezTo>
                    <a:pt x="1389793" y="1600200"/>
                    <a:pt x="1415701" y="1574292"/>
                    <a:pt x="1415701" y="1542574"/>
                  </a:cubicBezTo>
                  <a:lnTo>
                    <a:pt x="1415701" y="1534477"/>
                  </a:lnTo>
                  <a:cubicBezTo>
                    <a:pt x="1415701" y="1489900"/>
                    <a:pt x="1452086" y="1453515"/>
                    <a:pt x="1496663" y="1453515"/>
                  </a:cubicBezTo>
                  <a:lnTo>
                    <a:pt x="1527239" y="1453515"/>
                  </a:lnTo>
                  <a:cubicBezTo>
                    <a:pt x="1558957" y="1453515"/>
                    <a:pt x="1584865" y="1427607"/>
                    <a:pt x="1584865" y="1395889"/>
                  </a:cubicBezTo>
                  <a:lnTo>
                    <a:pt x="1584865" y="1375886"/>
                  </a:lnTo>
                  <a:cubicBezTo>
                    <a:pt x="1584865" y="1351026"/>
                    <a:pt x="1568958" y="1329690"/>
                    <a:pt x="1546765" y="1321689"/>
                  </a:cubicBezTo>
                  <a:cubicBezTo>
                    <a:pt x="1535716" y="1317689"/>
                    <a:pt x="1493520" y="1325689"/>
                    <a:pt x="1477518" y="1318070"/>
                  </a:cubicBezTo>
                  <a:cubicBezTo>
                    <a:pt x="1439609" y="1299877"/>
                    <a:pt x="1425226" y="1259014"/>
                    <a:pt x="1429988" y="1231487"/>
                  </a:cubicBezTo>
                  <a:cubicBezTo>
                    <a:pt x="1436846" y="1192435"/>
                    <a:pt x="1459039" y="1164527"/>
                    <a:pt x="1498759" y="1164527"/>
                  </a:cubicBezTo>
                  <a:lnTo>
                    <a:pt x="1681829" y="1164527"/>
                  </a:lnTo>
                  <a:cubicBezTo>
                    <a:pt x="1713548" y="1164527"/>
                    <a:pt x="1739456" y="1138619"/>
                    <a:pt x="1739456" y="1106900"/>
                  </a:cubicBezTo>
                  <a:lnTo>
                    <a:pt x="1739456" y="1086898"/>
                  </a:lnTo>
                  <a:cubicBezTo>
                    <a:pt x="1739456" y="1055180"/>
                    <a:pt x="1713548" y="1029272"/>
                    <a:pt x="1681829" y="1029272"/>
                  </a:cubicBezTo>
                  <a:lnTo>
                    <a:pt x="1498854" y="1029272"/>
                  </a:lnTo>
                  <a:cubicBezTo>
                    <a:pt x="1454277" y="1029272"/>
                    <a:pt x="1417892" y="992886"/>
                    <a:pt x="1417892" y="948309"/>
                  </a:cubicBezTo>
                  <a:lnTo>
                    <a:pt x="1417892" y="942594"/>
                  </a:lnTo>
                  <a:cubicBezTo>
                    <a:pt x="1417892" y="910876"/>
                    <a:pt x="1391984" y="884968"/>
                    <a:pt x="1360265" y="884968"/>
                  </a:cubicBezTo>
                  <a:lnTo>
                    <a:pt x="1186148" y="884968"/>
                  </a:lnTo>
                  <a:cubicBezTo>
                    <a:pt x="1141571" y="884968"/>
                    <a:pt x="1105186" y="848582"/>
                    <a:pt x="1105186" y="804005"/>
                  </a:cubicBezTo>
                  <a:lnTo>
                    <a:pt x="1105186" y="646176"/>
                  </a:lnTo>
                  <a:cubicBezTo>
                    <a:pt x="1105186" y="635508"/>
                    <a:pt x="1102233" y="625412"/>
                    <a:pt x="1097089" y="616839"/>
                  </a:cubicBezTo>
                  <a:cubicBezTo>
                    <a:pt x="1096804" y="616458"/>
                    <a:pt x="1096613" y="616077"/>
                    <a:pt x="1096423" y="615696"/>
                  </a:cubicBezTo>
                  <a:cubicBezTo>
                    <a:pt x="1086517" y="598361"/>
                    <a:pt x="1067753" y="586550"/>
                    <a:pt x="1046417" y="586550"/>
                  </a:cubicBezTo>
                  <a:lnTo>
                    <a:pt x="1024128" y="586550"/>
                  </a:lnTo>
                  <a:cubicBezTo>
                    <a:pt x="979551" y="586550"/>
                    <a:pt x="943165" y="550164"/>
                    <a:pt x="943165" y="505587"/>
                  </a:cubicBezTo>
                  <a:lnTo>
                    <a:pt x="943165" y="505206"/>
                  </a:lnTo>
                  <a:cubicBezTo>
                    <a:pt x="943165" y="473488"/>
                    <a:pt x="917162" y="447770"/>
                    <a:pt x="885539" y="446818"/>
                  </a:cubicBezTo>
                  <a:lnTo>
                    <a:pt x="844772" y="445580"/>
                  </a:lnTo>
                  <a:cubicBezTo>
                    <a:pt x="816864" y="441674"/>
                    <a:pt x="795242" y="417481"/>
                    <a:pt x="795242" y="388525"/>
                  </a:cubicBezTo>
                  <a:lnTo>
                    <a:pt x="795242" y="368522"/>
                  </a:lnTo>
                  <a:cubicBezTo>
                    <a:pt x="795242" y="336804"/>
                    <a:pt x="821150" y="310896"/>
                    <a:pt x="852869" y="310896"/>
                  </a:cubicBezTo>
                  <a:lnTo>
                    <a:pt x="952119" y="310896"/>
                  </a:lnTo>
                  <a:lnTo>
                    <a:pt x="951167" y="57626"/>
                  </a:lnTo>
                  <a:cubicBezTo>
                    <a:pt x="951071" y="26003"/>
                    <a:pt x="925259" y="0"/>
                    <a:pt x="893540" y="0"/>
                  </a:cubicBezTo>
                  <a:lnTo>
                    <a:pt x="214598" y="0"/>
                  </a:lnTo>
                  <a:cubicBezTo>
                    <a:pt x="185166" y="0"/>
                    <a:pt x="160592" y="22479"/>
                    <a:pt x="157353" y="51149"/>
                  </a:cubicBezTo>
                  <a:lnTo>
                    <a:pt x="157353" y="93059"/>
                  </a:lnTo>
                  <a:cubicBezTo>
                    <a:pt x="157353" y="124778"/>
                    <a:pt x="131445" y="150686"/>
                    <a:pt x="99727" y="150686"/>
                  </a:cubicBezTo>
                  <a:lnTo>
                    <a:pt x="0" y="150686"/>
                  </a:lnTo>
                  <a:lnTo>
                    <a:pt x="476" y="514921"/>
                  </a:lnTo>
                  <a:lnTo>
                    <a:pt x="476" y="514921"/>
                  </a:lnTo>
                  <a:close/>
                  <a:moveTo>
                    <a:pt x="959358" y="1105281"/>
                  </a:moveTo>
                  <a:lnTo>
                    <a:pt x="959358" y="1105281"/>
                  </a:lnTo>
                  <a:lnTo>
                    <a:pt x="959358" y="1105281"/>
                  </a:lnTo>
                  <a:lnTo>
                    <a:pt x="959358" y="1105281"/>
                  </a:lnTo>
                  <a:close/>
                  <a:moveTo>
                    <a:pt x="486156" y="672655"/>
                  </a:moveTo>
                  <a:lnTo>
                    <a:pt x="486156" y="672655"/>
                  </a:lnTo>
                  <a:lnTo>
                    <a:pt x="486156" y="672655"/>
                  </a:lnTo>
                  <a:lnTo>
                    <a:pt x="486156" y="672655"/>
                  </a:lnTo>
                  <a:close/>
                  <a:moveTo>
                    <a:pt x="647033" y="814769"/>
                  </a:moveTo>
                  <a:lnTo>
                    <a:pt x="647033" y="814769"/>
                  </a:lnTo>
                  <a:lnTo>
                    <a:pt x="647033" y="814769"/>
                  </a:lnTo>
                  <a:lnTo>
                    <a:pt x="647033" y="814769"/>
                  </a:lnTo>
                  <a:close/>
                  <a:moveTo>
                    <a:pt x="793813" y="956881"/>
                  </a:moveTo>
                  <a:lnTo>
                    <a:pt x="793813" y="956881"/>
                  </a:lnTo>
                  <a:lnTo>
                    <a:pt x="793813" y="956881"/>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1" name="Freeform: Shape 190">
              <a:extLst>
                <a:ext uri="{FF2B5EF4-FFF2-40B4-BE49-F238E27FC236}">
                  <a16:creationId xmlns:a16="http://schemas.microsoft.com/office/drawing/2014/main" id="{0175BE5F-38C5-471D-9653-1F23F877B7AF}"/>
                </a:ext>
              </a:extLst>
            </p:cNvPr>
            <p:cNvSpPr/>
            <p:nvPr/>
          </p:nvSpPr>
          <p:spPr>
            <a:xfrm>
              <a:off x="2597579" y="3391265"/>
              <a:ext cx="633888" cy="436149"/>
            </a:xfrm>
            <a:custGeom>
              <a:avLst/>
              <a:gdLst>
                <a:gd name="connsiteX0" fmla="*/ 633889 w 633888"/>
                <a:gd name="connsiteY0" fmla="*/ 285464 h 436149"/>
                <a:gd name="connsiteX1" fmla="*/ 633889 w 633888"/>
                <a:gd name="connsiteY1" fmla="*/ 142208 h 436149"/>
                <a:gd name="connsiteX2" fmla="*/ 57626 w 633888"/>
                <a:gd name="connsiteY2" fmla="*/ 143256 h 436149"/>
                <a:gd name="connsiteX3" fmla="*/ 0 w 633888"/>
                <a:gd name="connsiteY3" fmla="*/ 200882 h 436149"/>
                <a:gd name="connsiteX4" fmla="*/ 0 w 633888"/>
                <a:gd name="connsiteY4" fmla="*/ 378523 h 436149"/>
                <a:gd name="connsiteX5" fmla="*/ 57626 w 633888"/>
                <a:gd name="connsiteY5" fmla="*/ 436150 h 436149"/>
                <a:gd name="connsiteX6" fmla="*/ 253079 w 633888"/>
                <a:gd name="connsiteY6" fmla="*/ 436150 h 436149"/>
                <a:gd name="connsiteX7" fmla="*/ 310705 w 633888"/>
                <a:gd name="connsiteY7" fmla="*/ 378523 h 436149"/>
                <a:gd name="connsiteX8" fmla="*/ 310705 w 633888"/>
                <a:gd name="connsiteY8" fmla="*/ 336613 h 436149"/>
                <a:gd name="connsiteX9" fmla="*/ 367951 w 633888"/>
                <a:gd name="connsiteY9" fmla="*/ 285464 h 436149"/>
                <a:gd name="connsiteX10" fmla="*/ 633889 w 633888"/>
                <a:gd name="connsiteY10" fmla="*/ 285464 h 436149"/>
                <a:gd name="connsiteX11" fmla="*/ 633889 w 633888"/>
                <a:gd name="connsiteY11" fmla="*/ 285464 h 436149"/>
                <a:gd name="connsiteX12" fmla="*/ 91345 w 633888"/>
                <a:gd name="connsiteY12" fmla="*/ 0 h 436149"/>
                <a:gd name="connsiteX13" fmla="*/ 91345 w 633888"/>
                <a:gd name="connsiteY13" fmla="*/ 0 h 436149"/>
                <a:gd name="connsiteX14" fmla="*/ 91345 w 633888"/>
                <a:gd name="connsiteY14" fmla="*/ 0 h 436149"/>
                <a:gd name="connsiteX15" fmla="*/ 91345 w 633888"/>
                <a:gd name="connsiteY15" fmla="*/ 0 h 436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3888" h="436149">
                  <a:moveTo>
                    <a:pt x="633889" y="285464"/>
                  </a:moveTo>
                  <a:lnTo>
                    <a:pt x="633889" y="142208"/>
                  </a:lnTo>
                  <a:cubicBezTo>
                    <a:pt x="427482" y="142208"/>
                    <a:pt x="249746" y="143256"/>
                    <a:pt x="57626" y="143256"/>
                  </a:cubicBezTo>
                  <a:cubicBezTo>
                    <a:pt x="25908" y="143256"/>
                    <a:pt x="0" y="169164"/>
                    <a:pt x="0" y="200882"/>
                  </a:cubicBezTo>
                  <a:lnTo>
                    <a:pt x="0" y="378523"/>
                  </a:lnTo>
                  <a:cubicBezTo>
                    <a:pt x="0" y="410242"/>
                    <a:pt x="25908" y="436150"/>
                    <a:pt x="57626" y="436150"/>
                  </a:cubicBezTo>
                  <a:lnTo>
                    <a:pt x="253079" y="436150"/>
                  </a:lnTo>
                  <a:cubicBezTo>
                    <a:pt x="284797" y="436150"/>
                    <a:pt x="310705" y="410242"/>
                    <a:pt x="310705" y="378523"/>
                  </a:cubicBezTo>
                  <a:lnTo>
                    <a:pt x="310705" y="336613"/>
                  </a:lnTo>
                  <a:cubicBezTo>
                    <a:pt x="313944" y="307943"/>
                    <a:pt x="338519" y="285464"/>
                    <a:pt x="367951" y="285464"/>
                  </a:cubicBezTo>
                  <a:lnTo>
                    <a:pt x="633889" y="285464"/>
                  </a:lnTo>
                  <a:lnTo>
                    <a:pt x="633889" y="285464"/>
                  </a:lnTo>
                  <a:close/>
                  <a:moveTo>
                    <a:pt x="91345" y="0"/>
                  </a:moveTo>
                  <a:lnTo>
                    <a:pt x="91345" y="0"/>
                  </a:lnTo>
                  <a:lnTo>
                    <a:pt x="91345" y="0"/>
                  </a:lnTo>
                  <a:lnTo>
                    <a:pt x="91345"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2" name="Freeform: Shape 191">
              <a:extLst>
                <a:ext uri="{FF2B5EF4-FFF2-40B4-BE49-F238E27FC236}">
                  <a16:creationId xmlns:a16="http://schemas.microsoft.com/office/drawing/2014/main" id="{AFC9A18B-BCB3-4C5B-8A90-7CD820B7456E}"/>
                </a:ext>
              </a:extLst>
            </p:cNvPr>
            <p:cNvSpPr/>
            <p:nvPr/>
          </p:nvSpPr>
          <p:spPr>
            <a:xfrm>
              <a:off x="3231373" y="3411077"/>
              <a:ext cx="951737" cy="573595"/>
            </a:xfrm>
            <a:custGeom>
              <a:avLst/>
              <a:gdLst>
                <a:gd name="connsiteX0" fmla="*/ 472440 w 951737"/>
                <a:gd name="connsiteY0" fmla="*/ 0 h 573595"/>
                <a:gd name="connsiteX1" fmla="*/ 951738 w 951737"/>
                <a:gd name="connsiteY1" fmla="*/ 0 h 573595"/>
                <a:gd name="connsiteX2" fmla="*/ 951738 w 951737"/>
                <a:gd name="connsiteY2" fmla="*/ 213265 h 573595"/>
                <a:gd name="connsiteX3" fmla="*/ 894112 w 951737"/>
                <a:gd name="connsiteY3" fmla="*/ 270891 h 573595"/>
                <a:gd name="connsiteX4" fmla="*/ 859250 w 951737"/>
                <a:gd name="connsiteY4" fmla="*/ 270891 h 573595"/>
                <a:gd name="connsiteX5" fmla="*/ 786574 w 951737"/>
                <a:gd name="connsiteY5" fmla="*/ 347567 h 573595"/>
                <a:gd name="connsiteX6" fmla="*/ 786574 w 951737"/>
                <a:gd name="connsiteY6" fmla="*/ 515969 h 573595"/>
                <a:gd name="connsiteX7" fmla="*/ 728948 w 951737"/>
                <a:gd name="connsiteY7" fmla="*/ 573596 h 573595"/>
                <a:gd name="connsiteX8" fmla="*/ 472535 w 951737"/>
                <a:gd name="connsiteY8" fmla="*/ 573596 h 573595"/>
                <a:gd name="connsiteX9" fmla="*/ 475869 w 951737"/>
                <a:gd name="connsiteY9" fmla="*/ 515969 h 573595"/>
                <a:gd name="connsiteX10" fmla="*/ 475869 w 951737"/>
                <a:gd name="connsiteY10" fmla="*/ 316802 h 573595"/>
                <a:gd name="connsiteX11" fmla="*/ 418624 w 951737"/>
                <a:gd name="connsiteY11" fmla="*/ 265652 h 573595"/>
                <a:gd name="connsiteX12" fmla="*/ 0 w 951737"/>
                <a:gd name="connsiteY12" fmla="*/ 265652 h 573595"/>
                <a:gd name="connsiteX13" fmla="*/ 0 w 951737"/>
                <a:gd name="connsiteY13" fmla="*/ 122396 h 573595"/>
                <a:gd name="connsiteX14" fmla="*/ 78772 w 951737"/>
                <a:gd name="connsiteY14" fmla="*/ 122396 h 573595"/>
                <a:gd name="connsiteX15" fmla="*/ 93345 w 951737"/>
                <a:gd name="connsiteY15" fmla="*/ 121729 h 573595"/>
                <a:gd name="connsiteX16" fmla="*/ 101251 w 951737"/>
                <a:gd name="connsiteY16" fmla="*/ 121348 h 573595"/>
                <a:gd name="connsiteX17" fmla="*/ 400240 w 951737"/>
                <a:gd name="connsiteY17" fmla="*/ 121348 h 573595"/>
                <a:gd name="connsiteX18" fmla="*/ 470249 w 951737"/>
                <a:gd name="connsiteY18" fmla="*/ 51340 h 573595"/>
                <a:gd name="connsiteX19" fmla="*/ 472440 w 951737"/>
                <a:gd name="connsiteY19" fmla="*/ 0 h 5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1737" h="573595">
                  <a:moveTo>
                    <a:pt x="472440" y="0"/>
                  </a:moveTo>
                  <a:lnTo>
                    <a:pt x="951738" y="0"/>
                  </a:lnTo>
                  <a:lnTo>
                    <a:pt x="951738" y="213265"/>
                  </a:lnTo>
                  <a:cubicBezTo>
                    <a:pt x="951738" y="244983"/>
                    <a:pt x="925830" y="270891"/>
                    <a:pt x="894112" y="270891"/>
                  </a:cubicBezTo>
                  <a:lnTo>
                    <a:pt x="859250" y="270891"/>
                  </a:lnTo>
                  <a:cubicBezTo>
                    <a:pt x="802957" y="270891"/>
                    <a:pt x="784955" y="325946"/>
                    <a:pt x="786574" y="347567"/>
                  </a:cubicBezTo>
                  <a:lnTo>
                    <a:pt x="786574" y="515969"/>
                  </a:lnTo>
                  <a:cubicBezTo>
                    <a:pt x="786574" y="547688"/>
                    <a:pt x="760666" y="573596"/>
                    <a:pt x="728948" y="573596"/>
                  </a:cubicBezTo>
                  <a:lnTo>
                    <a:pt x="472535" y="573596"/>
                  </a:lnTo>
                  <a:lnTo>
                    <a:pt x="475869" y="515969"/>
                  </a:lnTo>
                  <a:lnTo>
                    <a:pt x="475869" y="316802"/>
                  </a:lnTo>
                  <a:cubicBezTo>
                    <a:pt x="472630" y="288131"/>
                    <a:pt x="448056" y="265652"/>
                    <a:pt x="418624" y="265652"/>
                  </a:cubicBezTo>
                  <a:lnTo>
                    <a:pt x="0" y="265652"/>
                  </a:lnTo>
                  <a:lnTo>
                    <a:pt x="0" y="122396"/>
                  </a:lnTo>
                  <a:lnTo>
                    <a:pt x="78772" y="122396"/>
                  </a:lnTo>
                  <a:cubicBezTo>
                    <a:pt x="83725" y="122396"/>
                    <a:pt x="88582" y="122111"/>
                    <a:pt x="93345" y="121729"/>
                  </a:cubicBezTo>
                  <a:cubicBezTo>
                    <a:pt x="96107" y="121444"/>
                    <a:pt x="98488" y="121348"/>
                    <a:pt x="101251" y="121348"/>
                  </a:cubicBezTo>
                  <a:lnTo>
                    <a:pt x="400240" y="121348"/>
                  </a:lnTo>
                  <a:cubicBezTo>
                    <a:pt x="438721" y="121348"/>
                    <a:pt x="468630" y="89821"/>
                    <a:pt x="470249" y="51340"/>
                  </a:cubicBezTo>
                  <a:lnTo>
                    <a:pt x="472440" y="0"/>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3" name="Freeform: Shape 192">
              <a:extLst>
                <a:ext uri="{FF2B5EF4-FFF2-40B4-BE49-F238E27FC236}">
                  <a16:creationId xmlns:a16="http://schemas.microsoft.com/office/drawing/2014/main" id="{D79E45CE-F531-430F-A611-EFC1194E3BFE}"/>
                </a:ext>
              </a:extLst>
            </p:cNvPr>
            <p:cNvSpPr/>
            <p:nvPr/>
          </p:nvSpPr>
          <p:spPr>
            <a:xfrm>
              <a:off x="3704003" y="3830177"/>
              <a:ext cx="314039" cy="154495"/>
            </a:xfrm>
            <a:custGeom>
              <a:avLst/>
              <a:gdLst>
                <a:gd name="connsiteX0" fmla="*/ 314039 w 314039"/>
                <a:gd name="connsiteY0" fmla="*/ 0 h 154495"/>
                <a:gd name="connsiteX1" fmla="*/ 314039 w 314039"/>
                <a:gd name="connsiteY1" fmla="*/ 96869 h 154495"/>
                <a:gd name="connsiteX2" fmla="*/ 256413 w 314039"/>
                <a:gd name="connsiteY2" fmla="*/ 154496 h 154495"/>
                <a:gd name="connsiteX3" fmla="*/ 0 w 314039"/>
                <a:gd name="connsiteY3" fmla="*/ 154496 h 154495"/>
                <a:gd name="connsiteX4" fmla="*/ 3334 w 314039"/>
                <a:gd name="connsiteY4" fmla="*/ 96869 h 154495"/>
                <a:gd name="connsiteX5" fmla="*/ 3334 w 314039"/>
                <a:gd name="connsiteY5" fmla="*/ 0 h 154495"/>
                <a:gd name="connsiteX6" fmla="*/ 314039 w 314039"/>
                <a:gd name="connsiteY6" fmla="*/ 0 h 15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039" h="154495">
                  <a:moveTo>
                    <a:pt x="314039" y="0"/>
                  </a:moveTo>
                  <a:lnTo>
                    <a:pt x="314039" y="96869"/>
                  </a:lnTo>
                  <a:cubicBezTo>
                    <a:pt x="314039" y="128588"/>
                    <a:pt x="288131" y="154496"/>
                    <a:pt x="256413" y="154496"/>
                  </a:cubicBezTo>
                  <a:lnTo>
                    <a:pt x="0" y="154496"/>
                  </a:lnTo>
                  <a:lnTo>
                    <a:pt x="3334" y="96869"/>
                  </a:lnTo>
                  <a:lnTo>
                    <a:pt x="3334" y="0"/>
                  </a:lnTo>
                  <a:lnTo>
                    <a:pt x="314039" y="0"/>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4" name="Freeform: Shape 193">
              <a:extLst>
                <a:ext uri="{FF2B5EF4-FFF2-40B4-BE49-F238E27FC236}">
                  <a16:creationId xmlns:a16="http://schemas.microsoft.com/office/drawing/2014/main" id="{FDE15936-D8D8-440F-BA99-7BB8F07288B1}"/>
                </a:ext>
              </a:extLst>
            </p:cNvPr>
            <p:cNvSpPr/>
            <p:nvPr/>
          </p:nvSpPr>
          <p:spPr>
            <a:xfrm>
              <a:off x="3828495" y="3830462"/>
              <a:ext cx="820769" cy="493014"/>
            </a:xfrm>
            <a:custGeom>
              <a:avLst/>
              <a:gdLst>
                <a:gd name="connsiteX0" fmla="*/ 0 w 820769"/>
                <a:gd name="connsiteY0" fmla="*/ 154210 h 493014"/>
                <a:gd name="connsiteX1" fmla="*/ 41053 w 820769"/>
                <a:gd name="connsiteY1" fmla="*/ 220313 h 493014"/>
                <a:gd name="connsiteX2" fmla="*/ 41053 w 820769"/>
                <a:gd name="connsiteY2" fmla="*/ 239268 h 493014"/>
                <a:gd name="connsiteX3" fmla="*/ 98679 w 820769"/>
                <a:gd name="connsiteY3" fmla="*/ 296894 h 493014"/>
                <a:gd name="connsiteX4" fmla="*/ 126778 w 820769"/>
                <a:gd name="connsiteY4" fmla="*/ 296894 h 493014"/>
                <a:gd name="connsiteX5" fmla="*/ 207740 w 820769"/>
                <a:gd name="connsiteY5" fmla="*/ 377857 h 493014"/>
                <a:gd name="connsiteX6" fmla="*/ 207740 w 820769"/>
                <a:gd name="connsiteY6" fmla="*/ 385001 h 493014"/>
                <a:gd name="connsiteX7" fmla="*/ 207740 w 820769"/>
                <a:gd name="connsiteY7" fmla="*/ 386524 h 493014"/>
                <a:gd name="connsiteX8" fmla="*/ 207740 w 820769"/>
                <a:gd name="connsiteY8" fmla="*/ 386524 h 493014"/>
                <a:gd name="connsiteX9" fmla="*/ 207835 w 820769"/>
                <a:gd name="connsiteY9" fmla="*/ 387953 h 493014"/>
                <a:gd name="connsiteX10" fmla="*/ 207835 w 820769"/>
                <a:gd name="connsiteY10" fmla="*/ 387953 h 493014"/>
                <a:gd name="connsiteX11" fmla="*/ 207931 w 820769"/>
                <a:gd name="connsiteY11" fmla="*/ 389382 h 493014"/>
                <a:gd name="connsiteX12" fmla="*/ 207931 w 820769"/>
                <a:gd name="connsiteY12" fmla="*/ 389382 h 493014"/>
                <a:gd name="connsiteX13" fmla="*/ 208026 w 820769"/>
                <a:gd name="connsiteY13" fmla="*/ 390811 h 493014"/>
                <a:gd name="connsiteX14" fmla="*/ 208026 w 820769"/>
                <a:gd name="connsiteY14" fmla="*/ 390811 h 493014"/>
                <a:gd name="connsiteX15" fmla="*/ 208216 w 820769"/>
                <a:gd name="connsiteY15" fmla="*/ 392239 h 493014"/>
                <a:gd name="connsiteX16" fmla="*/ 208216 w 820769"/>
                <a:gd name="connsiteY16" fmla="*/ 392239 h 493014"/>
                <a:gd name="connsiteX17" fmla="*/ 208407 w 820769"/>
                <a:gd name="connsiteY17" fmla="*/ 393668 h 493014"/>
                <a:gd name="connsiteX18" fmla="*/ 208407 w 820769"/>
                <a:gd name="connsiteY18" fmla="*/ 393668 h 493014"/>
                <a:gd name="connsiteX19" fmla="*/ 208597 w 820769"/>
                <a:gd name="connsiteY19" fmla="*/ 395097 h 493014"/>
                <a:gd name="connsiteX20" fmla="*/ 208597 w 820769"/>
                <a:gd name="connsiteY20" fmla="*/ 395097 h 493014"/>
                <a:gd name="connsiteX21" fmla="*/ 230886 w 820769"/>
                <a:gd name="connsiteY21" fmla="*/ 431102 h 493014"/>
                <a:gd name="connsiteX22" fmla="*/ 230886 w 820769"/>
                <a:gd name="connsiteY22" fmla="*/ 431102 h 493014"/>
                <a:gd name="connsiteX23" fmla="*/ 232029 w 820769"/>
                <a:gd name="connsiteY23" fmla="*/ 431959 h 493014"/>
                <a:gd name="connsiteX24" fmla="*/ 232029 w 820769"/>
                <a:gd name="connsiteY24" fmla="*/ 431959 h 493014"/>
                <a:gd name="connsiteX25" fmla="*/ 233172 w 820769"/>
                <a:gd name="connsiteY25" fmla="*/ 432721 h 493014"/>
                <a:gd name="connsiteX26" fmla="*/ 233172 w 820769"/>
                <a:gd name="connsiteY26" fmla="*/ 432721 h 493014"/>
                <a:gd name="connsiteX27" fmla="*/ 234315 w 820769"/>
                <a:gd name="connsiteY27" fmla="*/ 433483 h 493014"/>
                <a:gd name="connsiteX28" fmla="*/ 234315 w 820769"/>
                <a:gd name="connsiteY28" fmla="*/ 433483 h 493014"/>
                <a:gd name="connsiteX29" fmla="*/ 235458 w 820769"/>
                <a:gd name="connsiteY29" fmla="*/ 434245 h 493014"/>
                <a:gd name="connsiteX30" fmla="*/ 235458 w 820769"/>
                <a:gd name="connsiteY30" fmla="*/ 434245 h 493014"/>
                <a:gd name="connsiteX31" fmla="*/ 236029 w 820769"/>
                <a:gd name="connsiteY31" fmla="*/ 434530 h 493014"/>
                <a:gd name="connsiteX32" fmla="*/ 237363 w 820769"/>
                <a:gd name="connsiteY32" fmla="*/ 435293 h 493014"/>
                <a:gd name="connsiteX33" fmla="*/ 237934 w 820769"/>
                <a:gd name="connsiteY33" fmla="*/ 435578 h 493014"/>
                <a:gd name="connsiteX34" fmla="*/ 237934 w 820769"/>
                <a:gd name="connsiteY34" fmla="*/ 435578 h 493014"/>
                <a:gd name="connsiteX35" fmla="*/ 239173 w 820769"/>
                <a:gd name="connsiteY35" fmla="*/ 436245 h 493014"/>
                <a:gd name="connsiteX36" fmla="*/ 239173 w 820769"/>
                <a:gd name="connsiteY36" fmla="*/ 436245 h 493014"/>
                <a:gd name="connsiteX37" fmla="*/ 240411 w 820769"/>
                <a:gd name="connsiteY37" fmla="*/ 436912 h 493014"/>
                <a:gd name="connsiteX38" fmla="*/ 240411 w 820769"/>
                <a:gd name="connsiteY38" fmla="*/ 436912 h 493014"/>
                <a:gd name="connsiteX39" fmla="*/ 241649 w 820769"/>
                <a:gd name="connsiteY39" fmla="*/ 437483 h 493014"/>
                <a:gd name="connsiteX40" fmla="*/ 241649 w 820769"/>
                <a:gd name="connsiteY40" fmla="*/ 437483 h 493014"/>
                <a:gd name="connsiteX41" fmla="*/ 242888 w 820769"/>
                <a:gd name="connsiteY41" fmla="*/ 438055 h 493014"/>
                <a:gd name="connsiteX42" fmla="*/ 242888 w 820769"/>
                <a:gd name="connsiteY42" fmla="*/ 438055 h 493014"/>
                <a:gd name="connsiteX43" fmla="*/ 244221 w 820769"/>
                <a:gd name="connsiteY43" fmla="*/ 438626 h 493014"/>
                <a:gd name="connsiteX44" fmla="*/ 244221 w 820769"/>
                <a:gd name="connsiteY44" fmla="*/ 438626 h 493014"/>
                <a:gd name="connsiteX45" fmla="*/ 245554 w 820769"/>
                <a:gd name="connsiteY45" fmla="*/ 439103 h 493014"/>
                <a:gd name="connsiteX46" fmla="*/ 245554 w 820769"/>
                <a:gd name="connsiteY46" fmla="*/ 439103 h 493014"/>
                <a:gd name="connsiteX47" fmla="*/ 246888 w 820769"/>
                <a:gd name="connsiteY47" fmla="*/ 439579 h 493014"/>
                <a:gd name="connsiteX48" fmla="*/ 246888 w 820769"/>
                <a:gd name="connsiteY48" fmla="*/ 439579 h 493014"/>
                <a:gd name="connsiteX49" fmla="*/ 247174 w 820769"/>
                <a:gd name="connsiteY49" fmla="*/ 439674 h 493014"/>
                <a:gd name="connsiteX50" fmla="*/ 249269 w 820769"/>
                <a:gd name="connsiteY50" fmla="*/ 440341 h 493014"/>
                <a:gd name="connsiteX51" fmla="*/ 249555 w 820769"/>
                <a:gd name="connsiteY51" fmla="*/ 440436 h 493014"/>
                <a:gd name="connsiteX52" fmla="*/ 249555 w 820769"/>
                <a:gd name="connsiteY52" fmla="*/ 440436 h 493014"/>
                <a:gd name="connsiteX53" fmla="*/ 250888 w 820769"/>
                <a:gd name="connsiteY53" fmla="*/ 440817 h 493014"/>
                <a:gd name="connsiteX54" fmla="*/ 250888 w 820769"/>
                <a:gd name="connsiteY54" fmla="*/ 440817 h 493014"/>
                <a:gd name="connsiteX55" fmla="*/ 252222 w 820769"/>
                <a:gd name="connsiteY55" fmla="*/ 441198 h 493014"/>
                <a:gd name="connsiteX56" fmla="*/ 252222 w 820769"/>
                <a:gd name="connsiteY56" fmla="*/ 441198 h 493014"/>
                <a:gd name="connsiteX57" fmla="*/ 253651 w 820769"/>
                <a:gd name="connsiteY57" fmla="*/ 441484 h 493014"/>
                <a:gd name="connsiteX58" fmla="*/ 253651 w 820769"/>
                <a:gd name="connsiteY58" fmla="*/ 441484 h 493014"/>
                <a:gd name="connsiteX59" fmla="*/ 255079 w 820769"/>
                <a:gd name="connsiteY59" fmla="*/ 441770 h 493014"/>
                <a:gd name="connsiteX60" fmla="*/ 255079 w 820769"/>
                <a:gd name="connsiteY60" fmla="*/ 441770 h 493014"/>
                <a:gd name="connsiteX61" fmla="*/ 255365 w 820769"/>
                <a:gd name="connsiteY61" fmla="*/ 441770 h 493014"/>
                <a:gd name="connsiteX62" fmla="*/ 257746 w 820769"/>
                <a:gd name="connsiteY62" fmla="*/ 442151 h 493014"/>
                <a:gd name="connsiteX63" fmla="*/ 258032 w 820769"/>
                <a:gd name="connsiteY63" fmla="*/ 442151 h 493014"/>
                <a:gd name="connsiteX64" fmla="*/ 258032 w 820769"/>
                <a:gd name="connsiteY64" fmla="*/ 442151 h 493014"/>
                <a:gd name="connsiteX65" fmla="*/ 259461 w 820769"/>
                <a:gd name="connsiteY65" fmla="*/ 442341 h 493014"/>
                <a:gd name="connsiteX66" fmla="*/ 259461 w 820769"/>
                <a:gd name="connsiteY66" fmla="*/ 442341 h 493014"/>
                <a:gd name="connsiteX67" fmla="*/ 260890 w 820769"/>
                <a:gd name="connsiteY67" fmla="*/ 442436 h 493014"/>
                <a:gd name="connsiteX68" fmla="*/ 260890 w 820769"/>
                <a:gd name="connsiteY68" fmla="*/ 442436 h 493014"/>
                <a:gd name="connsiteX69" fmla="*/ 262318 w 820769"/>
                <a:gd name="connsiteY69" fmla="*/ 442531 h 493014"/>
                <a:gd name="connsiteX70" fmla="*/ 262318 w 820769"/>
                <a:gd name="connsiteY70" fmla="*/ 442531 h 493014"/>
                <a:gd name="connsiteX71" fmla="*/ 262795 w 820769"/>
                <a:gd name="connsiteY71" fmla="*/ 442531 h 493014"/>
                <a:gd name="connsiteX72" fmla="*/ 265938 w 820769"/>
                <a:gd name="connsiteY72" fmla="*/ 442627 h 493014"/>
                <a:gd name="connsiteX73" fmla="*/ 431768 w 820769"/>
                <a:gd name="connsiteY73" fmla="*/ 442627 h 493014"/>
                <a:gd name="connsiteX74" fmla="*/ 434054 w 820769"/>
                <a:gd name="connsiteY74" fmla="*/ 442627 h 493014"/>
                <a:gd name="connsiteX75" fmla="*/ 509016 w 820769"/>
                <a:gd name="connsiteY75" fmla="*/ 493014 h 493014"/>
                <a:gd name="connsiteX76" fmla="*/ 506349 w 820769"/>
                <a:gd name="connsiteY76" fmla="*/ 345377 h 493014"/>
                <a:gd name="connsiteX77" fmla="*/ 423767 w 820769"/>
                <a:gd name="connsiteY77" fmla="*/ 276130 h 493014"/>
                <a:gd name="connsiteX78" fmla="*/ 408622 w 820769"/>
                <a:gd name="connsiteY78" fmla="*/ 276130 h 493014"/>
                <a:gd name="connsiteX79" fmla="*/ 350996 w 820769"/>
                <a:gd name="connsiteY79" fmla="*/ 218504 h 493014"/>
                <a:gd name="connsiteX80" fmla="*/ 350996 w 820769"/>
                <a:gd name="connsiteY80" fmla="*/ 198501 h 493014"/>
                <a:gd name="connsiteX81" fmla="*/ 408622 w 820769"/>
                <a:gd name="connsiteY81" fmla="*/ 140875 h 493014"/>
                <a:gd name="connsiteX82" fmla="*/ 820769 w 820769"/>
                <a:gd name="connsiteY82" fmla="*/ 140875 h 493014"/>
                <a:gd name="connsiteX83" fmla="*/ 820769 w 820769"/>
                <a:gd name="connsiteY83" fmla="*/ 0 h 493014"/>
                <a:gd name="connsiteX84" fmla="*/ 189547 w 820769"/>
                <a:gd name="connsiteY84" fmla="*/ 0 h 493014"/>
                <a:gd name="connsiteX85" fmla="*/ 189547 w 820769"/>
                <a:gd name="connsiteY85" fmla="*/ 96869 h 493014"/>
                <a:gd name="connsiteX86" fmla="*/ 131921 w 820769"/>
                <a:gd name="connsiteY86" fmla="*/ 154496 h 493014"/>
                <a:gd name="connsiteX87" fmla="*/ 0 w 820769"/>
                <a:gd name="connsiteY87" fmla="*/ 154496 h 493014"/>
                <a:gd name="connsiteX88" fmla="*/ 0 w 820769"/>
                <a:gd name="connsiteY88" fmla="*/ 154210 h 493014"/>
                <a:gd name="connsiteX89" fmla="*/ 207740 w 820769"/>
                <a:gd name="connsiteY89" fmla="*/ 384905 h 493014"/>
                <a:gd name="connsiteX90" fmla="*/ 207740 w 820769"/>
                <a:gd name="connsiteY90" fmla="*/ 384905 h 493014"/>
                <a:gd name="connsiteX91" fmla="*/ 207740 w 820769"/>
                <a:gd name="connsiteY91" fmla="*/ 384905 h 49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820769" h="493014">
                  <a:moveTo>
                    <a:pt x="0" y="154210"/>
                  </a:moveTo>
                  <a:cubicBezTo>
                    <a:pt x="24003" y="154496"/>
                    <a:pt x="41053" y="169450"/>
                    <a:pt x="41053" y="220313"/>
                  </a:cubicBezTo>
                  <a:lnTo>
                    <a:pt x="41053" y="239268"/>
                  </a:lnTo>
                  <a:cubicBezTo>
                    <a:pt x="41053" y="270986"/>
                    <a:pt x="66961" y="296894"/>
                    <a:pt x="98679" y="296894"/>
                  </a:cubicBezTo>
                  <a:lnTo>
                    <a:pt x="126778" y="296894"/>
                  </a:lnTo>
                  <a:cubicBezTo>
                    <a:pt x="171355" y="296894"/>
                    <a:pt x="207740" y="333280"/>
                    <a:pt x="207740" y="377857"/>
                  </a:cubicBezTo>
                  <a:lnTo>
                    <a:pt x="207740" y="385001"/>
                  </a:lnTo>
                  <a:lnTo>
                    <a:pt x="207740" y="386524"/>
                  </a:lnTo>
                  <a:lnTo>
                    <a:pt x="207740" y="386524"/>
                  </a:lnTo>
                  <a:lnTo>
                    <a:pt x="207835" y="387953"/>
                  </a:lnTo>
                  <a:lnTo>
                    <a:pt x="207835" y="387953"/>
                  </a:lnTo>
                  <a:lnTo>
                    <a:pt x="207931" y="389382"/>
                  </a:lnTo>
                  <a:lnTo>
                    <a:pt x="207931" y="389382"/>
                  </a:lnTo>
                  <a:lnTo>
                    <a:pt x="208026" y="390811"/>
                  </a:lnTo>
                  <a:lnTo>
                    <a:pt x="208026" y="390811"/>
                  </a:lnTo>
                  <a:lnTo>
                    <a:pt x="208216" y="392239"/>
                  </a:lnTo>
                  <a:lnTo>
                    <a:pt x="208216" y="392239"/>
                  </a:lnTo>
                  <a:lnTo>
                    <a:pt x="208407" y="393668"/>
                  </a:lnTo>
                  <a:lnTo>
                    <a:pt x="208407" y="393668"/>
                  </a:lnTo>
                  <a:lnTo>
                    <a:pt x="208597" y="395097"/>
                  </a:lnTo>
                  <a:lnTo>
                    <a:pt x="208597" y="395097"/>
                  </a:lnTo>
                  <a:cubicBezTo>
                    <a:pt x="211074" y="409289"/>
                    <a:pt x="219265" y="422243"/>
                    <a:pt x="230886" y="431102"/>
                  </a:cubicBezTo>
                  <a:lnTo>
                    <a:pt x="230886" y="431102"/>
                  </a:lnTo>
                  <a:lnTo>
                    <a:pt x="232029" y="431959"/>
                  </a:lnTo>
                  <a:lnTo>
                    <a:pt x="232029" y="431959"/>
                  </a:lnTo>
                  <a:lnTo>
                    <a:pt x="233172" y="432721"/>
                  </a:lnTo>
                  <a:lnTo>
                    <a:pt x="233172" y="432721"/>
                  </a:lnTo>
                  <a:lnTo>
                    <a:pt x="234315" y="433483"/>
                  </a:lnTo>
                  <a:lnTo>
                    <a:pt x="234315" y="433483"/>
                  </a:lnTo>
                  <a:lnTo>
                    <a:pt x="235458" y="434245"/>
                  </a:lnTo>
                  <a:lnTo>
                    <a:pt x="235458" y="434245"/>
                  </a:lnTo>
                  <a:lnTo>
                    <a:pt x="236029" y="434530"/>
                  </a:lnTo>
                  <a:cubicBezTo>
                    <a:pt x="236506" y="434816"/>
                    <a:pt x="236887" y="435007"/>
                    <a:pt x="237363" y="435293"/>
                  </a:cubicBezTo>
                  <a:lnTo>
                    <a:pt x="237934" y="435578"/>
                  </a:lnTo>
                  <a:lnTo>
                    <a:pt x="237934" y="435578"/>
                  </a:lnTo>
                  <a:lnTo>
                    <a:pt x="239173" y="436245"/>
                  </a:lnTo>
                  <a:lnTo>
                    <a:pt x="239173" y="436245"/>
                  </a:lnTo>
                  <a:lnTo>
                    <a:pt x="240411" y="436912"/>
                  </a:lnTo>
                  <a:lnTo>
                    <a:pt x="240411" y="436912"/>
                  </a:lnTo>
                  <a:lnTo>
                    <a:pt x="241649" y="437483"/>
                  </a:lnTo>
                  <a:lnTo>
                    <a:pt x="241649" y="437483"/>
                  </a:lnTo>
                  <a:cubicBezTo>
                    <a:pt x="242030" y="437674"/>
                    <a:pt x="242506" y="437864"/>
                    <a:pt x="242888" y="438055"/>
                  </a:cubicBezTo>
                  <a:lnTo>
                    <a:pt x="242888" y="438055"/>
                  </a:lnTo>
                  <a:lnTo>
                    <a:pt x="244221" y="438626"/>
                  </a:lnTo>
                  <a:lnTo>
                    <a:pt x="244221" y="438626"/>
                  </a:lnTo>
                  <a:lnTo>
                    <a:pt x="245554" y="439103"/>
                  </a:lnTo>
                  <a:lnTo>
                    <a:pt x="245554" y="439103"/>
                  </a:lnTo>
                  <a:lnTo>
                    <a:pt x="246888" y="439579"/>
                  </a:lnTo>
                  <a:lnTo>
                    <a:pt x="246888" y="439579"/>
                  </a:lnTo>
                  <a:lnTo>
                    <a:pt x="247174" y="439674"/>
                  </a:lnTo>
                  <a:cubicBezTo>
                    <a:pt x="247936" y="439864"/>
                    <a:pt x="248507" y="440055"/>
                    <a:pt x="249269" y="440341"/>
                  </a:cubicBezTo>
                  <a:lnTo>
                    <a:pt x="249555" y="440436"/>
                  </a:lnTo>
                  <a:lnTo>
                    <a:pt x="249555" y="440436"/>
                  </a:lnTo>
                  <a:lnTo>
                    <a:pt x="250888" y="440817"/>
                  </a:lnTo>
                  <a:lnTo>
                    <a:pt x="250888" y="440817"/>
                  </a:lnTo>
                  <a:lnTo>
                    <a:pt x="252222" y="441198"/>
                  </a:lnTo>
                  <a:lnTo>
                    <a:pt x="252222" y="441198"/>
                  </a:lnTo>
                  <a:lnTo>
                    <a:pt x="253651" y="441484"/>
                  </a:lnTo>
                  <a:lnTo>
                    <a:pt x="253651" y="441484"/>
                  </a:lnTo>
                  <a:cubicBezTo>
                    <a:pt x="254127" y="441579"/>
                    <a:pt x="254603" y="441674"/>
                    <a:pt x="255079" y="441770"/>
                  </a:cubicBezTo>
                  <a:lnTo>
                    <a:pt x="255079" y="441770"/>
                  </a:lnTo>
                  <a:lnTo>
                    <a:pt x="255365" y="441770"/>
                  </a:lnTo>
                  <a:cubicBezTo>
                    <a:pt x="256222" y="441865"/>
                    <a:pt x="256889" y="442055"/>
                    <a:pt x="257746" y="442151"/>
                  </a:cubicBezTo>
                  <a:lnTo>
                    <a:pt x="258032" y="442151"/>
                  </a:lnTo>
                  <a:lnTo>
                    <a:pt x="258032" y="442151"/>
                  </a:lnTo>
                  <a:lnTo>
                    <a:pt x="259461" y="442341"/>
                  </a:lnTo>
                  <a:lnTo>
                    <a:pt x="259461" y="442341"/>
                  </a:lnTo>
                  <a:lnTo>
                    <a:pt x="260890" y="442436"/>
                  </a:lnTo>
                  <a:lnTo>
                    <a:pt x="260890" y="442436"/>
                  </a:lnTo>
                  <a:lnTo>
                    <a:pt x="262318" y="442531"/>
                  </a:lnTo>
                  <a:lnTo>
                    <a:pt x="262318" y="442531"/>
                  </a:lnTo>
                  <a:lnTo>
                    <a:pt x="262795" y="442531"/>
                  </a:lnTo>
                  <a:cubicBezTo>
                    <a:pt x="263938" y="442531"/>
                    <a:pt x="264795" y="442627"/>
                    <a:pt x="265938" y="442627"/>
                  </a:cubicBezTo>
                  <a:lnTo>
                    <a:pt x="431768" y="442627"/>
                  </a:lnTo>
                  <a:lnTo>
                    <a:pt x="434054" y="442627"/>
                  </a:lnTo>
                  <a:cubicBezTo>
                    <a:pt x="467868" y="442627"/>
                    <a:pt x="496824" y="463487"/>
                    <a:pt x="509016" y="493014"/>
                  </a:cubicBezTo>
                  <a:lnTo>
                    <a:pt x="506349" y="345377"/>
                  </a:lnTo>
                  <a:cubicBezTo>
                    <a:pt x="505015" y="273463"/>
                    <a:pt x="439007" y="276606"/>
                    <a:pt x="423767" y="276130"/>
                  </a:cubicBezTo>
                  <a:lnTo>
                    <a:pt x="408622" y="276130"/>
                  </a:lnTo>
                  <a:cubicBezTo>
                    <a:pt x="376904" y="276130"/>
                    <a:pt x="350996" y="250222"/>
                    <a:pt x="350996" y="218504"/>
                  </a:cubicBezTo>
                  <a:lnTo>
                    <a:pt x="350996" y="198501"/>
                  </a:lnTo>
                  <a:cubicBezTo>
                    <a:pt x="350996" y="166783"/>
                    <a:pt x="376904" y="140875"/>
                    <a:pt x="408622" y="140875"/>
                  </a:cubicBezTo>
                  <a:lnTo>
                    <a:pt x="820769" y="140875"/>
                  </a:lnTo>
                  <a:lnTo>
                    <a:pt x="820769" y="0"/>
                  </a:lnTo>
                  <a:lnTo>
                    <a:pt x="189547" y="0"/>
                  </a:lnTo>
                  <a:lnTo>
                    <a:pt x="189547" y="96869"/>
                  </a:lnTo>
                  <a:cubicBezTo>
                    <a:pt x="189547" y="128588"/>
                    <a:pt x="163639" y="154496"/>
                    <a:pt x="131921" y="154496"/>
                  </a:cubicBezTo>
                  <a:lnTo>
                    <a:pt x="0" y="154496"/>
                  </a:lnTo>
                  <a:lnTo>
                    <a:pt x="0" y="154210"/>
                  </a:lnTo>
                  <a:close/>
                  <a:moveTo>
                    <a:pt x="207740" y="384905"/>
                  </a:moveTo>
                  <a:lnTo>
                    <a:pt x="207740" y="384905"/>
                  </a:lnTo>
                  <a:lnTo>
                    <a:pt x="207740" y="384905"/>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5" name="Freeform: Shape 194">
              <a:extLst>
                <a:ext uri="{FF2B5EF4-FFF2-40B4-BE49-F238E27FC236}">
                  <a16:creationId xmlns:a16="http://schemas.microsoft.com/office/drawing/2014/main" id="{E3C5FF34-A78C-4467-846C-713CB41EAF5B}"/>
                </a:ext>
              </a:extLst>
            </p:cNvPr>
            <p:cNvSpPr/>
            <p:nvPr/>
          </p:nvSpPr>
          <p:spPr>
            <a:xfrm>
              <a:off x="5452983" y="5721461"/>
              <a:ext cx="448627" cy="135254"/>
            </a:xfrm>
            <a:custGeom>
              <a:avLst/>
              <a:gdLst>
                <a:gd name="connsiteX0" fmla="*/ 0 w 448627"/>
                <a:gd name="connsiteY0" fmla="*/ 57626 h 135254"/>
                <a:gd name="connsiteX1" fmla="*/ 0 w 448627"/>
                <a:gd name="connsiteY1" fmla="*/ 77628 h 135254"/>
                <a:gd name="connsiteX2" fmla="*/ 57626 w 448627"/>
                <a:gd name="connsiteY2" fmla="*/ 135255 h 135254"/>
                <a:gd name="connsiteX3" fmla="*/ 391001 w 448627"/>
                <a:gd name="connsiteY3" fmla="*/ 135255 h 135254"/>
                <a:gd name="connsiteX4" fmla="*/ 448627 w 448627"/>
                <a:gd name="connsiteY4" fmla="*/ 77628 h 135254"/>
                <a:gd name="connsiteX5" fmla="*/ 448627 w 448627"/>
                <a:gd name="connsiteY5" fmla="*/ 57626 h 135254"/>
                <a:gd name="connsiteX6" fmla="*/ 391001 w 448627"/>
                <a:gd name="connsiteY6" fmla="*/ 0 h 135254"/>
                <a:gd name="connsiteX7" fmla="*/ 57626 w 448627"/>
                <a:gd name="connsiteY7" fmla="*/ 0 h 135254"/>
                <a:gd name="connsiteX8" fmla="*/ 0 w 448627"/>
                <a:gd name="connsiteY8" fmla="*/ 57626 h 13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627" h="135254">
                  <a:moveTo>
                    <a:pt x="0" y="57626"/>
                  </a:moveTo>
                  <a:lnTo>
                    <a:pt x="0" y="77628"/>
                  </a:lnTo>
                  <a:cubicBezTo>
                    <a:pt x="0" y="109347"/>
                    <a:pt x="25908" y="135255"/>
                    <a:pt x="57626" y="135255"/>
                  </a:cubicBezTo>
                  <a:lnTo>
                    <a:pt x="391001" y="135255"/>
                  </a:lnTo>
                  <a:cubicBezTo>
                    <a:pt x="422720" y="135255"/>
                    <a:pt x="448627" y="109347"/>
                    <a:pt x="448627" y="77628"/>
                  </a:cubicBezTo>
                  <a:lnTo>
                    <a:pt x="448627" y="57626"/>
                  </a:lnTo>
                  <a:cubicBezTo>
                    <a:pt x="448627" y="25908"/>
                    <a:pt x="422720" y="0"/>
                    <a:pt x="391001" y="0"/>
                  </a:cubicBezTo>
                  <a:lnTo>
                    <a:pt x="57626" y="0"/>
                  </a:lnTo>
                  <a:cubicBezTo>
                    <a:pt x="26003" y="0"/>
                    <a:pt x="0" y="25908"/>
                    <a:pt x="0" y="57626"/>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6" name="Freeform: Shape 195">
              <a:extLst>
                <a:ext uri="{FF2B5EF4-FFF2-40B4-BE49-F238E27FC236}">
                  <a16:creationId xmlns:a16="http://schemas.microsoft.com/office/drawing/2014/main" id="{277F4E04-A131-42C8-A18A-6BF1E68E9761}"/>
                </a:ext>
              </a:extLst>
            </p:cNvPr>
            <p:cNvSpPr/>
            <p:nvPr/>
          </p:nvSpPr>
          <p:spPr>
            <a:xfrm>
              <a:off x="4806046" y="4414821"/>
              <a:ext cx="945927" cy="1170241"/>
            </a:xfrm>
            <a:custGeom>
              <a:avLst/>
              <a:gdLst>
                <a:gd name="connsiteX0" fmla="*/ 168402 w 945927"/>
                <a:gd name="connsiteY0" fmla="*/ 288131 h 1170241"/>
                <a:gd name="connsiteX1" fmla="*/ 168402 w 945927"/>
                <a:gd name="connsiteY1" fmla="*/ 520827 h 1170241"/>
                <a:gd name="connsiteX2" fmla="*/ 110776 w 945927"/>
                <a:gd name="connsiteY2" fmla="*/ 578453 h 1170241"/>
                <a:gd name="connsiteX3" fmla="*/ 0 w 945927"/>
                <a:gd name="connsiteY3" fmla="*/ 578453 h 1170241"/>
                <a:gd name="connsiteX4" fmla="*/ 0 w 945927"/>
                <a:gd name="connsiteY4" fmla="*/ 664083 h 1170241"/>
                <a:gd name="connsiteX5" fmla="*/ 0 w 945927"/>
                <a:gd name="connsiteY5" fmla="*/ 665607 h 1170241"/>
                <a:gd name="connsiteX6" fmla="*/ 0 w 945927"/>
                <a:gd name="connsiteY6" fmla="*/ 665607 h 1170241"/>
                <a:gd name="connsiteX7" fmla="*/ 95 w 945927"/>
                <a:gd name="connsiteY7" fmla="*/ 667036 h 1170241"/>
                <a:gd name="connsiteX8" fmla="*/ 95 w 945927"/>
                <a:gd name="connsiteY8" fmla="*/ 667036 h 1170241"/>
                <a:gd name="connsiteX9" fmla="*/ 190 w 945927"/>
                <a:gd name="connsiteY9" fmla="*/ 668465 h 1170241"/>
                <a:gd name="connsiteX10" fmla="*/ 190 w 945927"/>
                <a:gd name="connsiteY10" fmla="*/ 668465 h 1170241"/>
                <a:gd name="connsiteX11" fmla="*/ 286 w 945927"/>
                <a:gd name="connsiteY11" fmla="*/ 669893 h 1170241"/>
                <a:gd name="connsiteX12" fmla="*/ 286 w 945927"/>
                <a:gd name="connsiteY12" fmla="*/ 669893 h 1170241"/>
                <a:gd name="connsiteX13" fmla="*/ 476 w 945927"/>
                <a:gd name="connsiteY13" fmla="*/ 671322 h 1170241"/>
                <a:gd name="connsiteX14" fmla="*/ 476 w 945927"/>
                <a:gd name="connsiteY14" fmla="*/ 671322 h 1170241"/>
                <a:gd name="connsiteX15" fmla="*/ 667 w 945927"/>
                <a:gd name="connsiteY15" fmla="*/ 672751 h 1170241"/>
                <a:gd name="connsiteX16" fmla="*/ 667 w 945927"/>
                <a:gd name="connsiteY16" fmla="*/ 672751 h 1170241"/>
                <a:gd name="connsiteX17" fmla="*/ 29623 w 945927"/>
                <a:gd name="connsiteY17" fmla="*/ 714375 h 1170241"/>
                <a:gd name="connsiteX18" fmla="*/ 30194 w 945927"/>
                <a:gd name="connsiteY18" fmla="*/ 714661 h 1170241"/>
                <a:gd name="connsiteX19" fmla="*/ 30194 w 945927"/>
                <a:gd name="connsiteY19" fmla="*/ 714661 h 1170241"/>
                <a:gd name="connsiteX20" fmla="*/ 31432 w 945927"/>
                <a:gd name="connsiteY20" fmla="*/ 715328 h 1170241"/>
                <a:gd name="connsiteX21" fmla="*/ 31432 w 945927"/>
                <a:gd name="connsiteY21" fmla="*/ 715328 h 1170241"/>
                <a:gd name="connsiteX22" fmla="*/ 32671 w 945927"/>
                <a:gd name="connsiteY22" fmla="*/ 715994 h 1170241"/>
                <a:gd name="connsiteX23" fmla="*/ 32671 w 945927"/>
                <a:gd name="connsiteY23" fmla="*/ 715994 h 1170241"/>
                <a:gd name="connsiteX24" fmla="*/ 33909 w 945927"/>
                <a:gd name="connsiteY24" fmla="*/ 716566 h 1170241"/>
                <a:gd name="connsiteX25" fmla="*/ 33909 w 945927"/>
                <a:gd name="connsiteY25" fmla="*/ 716566 h 1170241"/>
                <a:gd name="connsiteX26" fmla="*/ 35147 w 945927"/>
                <a:gd name="connsiteY26" fmla="*/ 717137 h 1170241"/>
                <a:gd name="connsiteX27" fmla="*/ 35147 w 945927"/>
                <a:gd name="connsiteY27" fmla="*/ 717137 h 1170241"/>
                <a:gd name="connsiteX28" fmla="*/ 36481 w 945927"/>
                <a:gd name="connsiteY28" fmla="*/ 717709 h 1170241"/>
                <a:gd name="connsiteX29" fmla="*/ 36481 w 945927"/>
                <a:gd name="connsiteY29" fmla="*/ 717709 h 1170241"/>
                <a:gd name="connsiteX30" fmla="*/ 37814 w 945927"/>
                <a:gd name="connsiteY30" fmla="*/ 718185 h 1170241"/>
                <a:gd name="connsiteX31" fmla="*/ 37814 w 945927"/>
                <a:gd name="connsiteY31" fmla="*/ 718185 h 1170241"/>
                <a:gd name="connsiteX32" fmla="*/ 39148 w 945927"/>
                <a:gd name="connsiteY32" fmla="*/ 718661 h 1170241"/>
                <a:gd name="connsiteX33" fmla="*/ 39148 w 945927"/>
                <a:gd name="connsiteY33" fmla="*/ 718661 h 1170241"/>
                <a:gd name="connsiteX34" fmla="*/ 39433 w 945927"/>
                <a:gd name="connsiteY34" fmla="*/ 718756 h 1170241"/>
                <a:gd name="connsiteX35" fmla="*/ 41529 w 945927"/>
                <a:gd name="connsiteY35" fmla="*/ 719423 h 1170241"/>
                <a:gd name="connsiteX36" fmla="*/ 41815 w 945927"/>
                <a:gd name="connsiteY36" fmla="*/ 719519 h 1170241"/>
                <a:gd name="connsiteX37" fmla="*/ 41815 w 945927"/>
                <a:gd name="connsiteY37" fmla="*/ 719519 h 1170241"/>
                <a:gd name="connsiteX38" fmla="*/ 43148 w 945927"/>
                <a:gd name="connsiteY38" fmla="*/ 719899 h 1170241"/>
                <a:gd name="connsiteX39" fmla="*/ 43148 w 945927"/>
                <a:gd name="connsiteY39" fmla="*/ 719899 h 1170241"/>
                <a:gd name="connsiteX40" fmla="*/ 44482 w 945927"/>
                <a:gd name="connsiteY40" fmla="*/ 720280 h 1170241"/>
                <a:gd name="connsiteX41" fmla="*/ 44482 w 945927"/>
                <a:gd name="connsiteY41" fmla="*/ 720280 h 1170241"/>
                <a:gd name="connsiteX42" fmla="*/ 45910 w 945927"/>
                <a:gd name="connsiteY42" fmla="*/ 720566 h 1170241"/>
                <a:gd name="connsiteX43" fmla="*/ 45910 w 945927"/>
                <a:gd name="connsiteY43" fmla="*/ 720566 h 1170241"/>
                <a:gd name="connsiteX44" fmla="*/ 47339 w 945927"/>
                <a:gd name="connsiteY44" fmla="*/ 720852 h 1170241"/>
                <a:gd name="connsiteX45" fmla="*/ 47339 w 945927"/>
                <a:gd name="connsiteY45" fmla="*/ 720852 h 1170241"/>
                <a:gd name="connsiteX46" fmla="*/ 47625 w 945927"/>
                <a:gd name="connsiteY46" fmla="*/ 720852 h 1170241"/>
                <a:gd name="connsiteX47" fmla="*/ 50006 w 945927"/>
                <a:gd name="connsiteY47" fmla="*/ 721233 h 1170241"/>
                <a:gd name="connsiteX48" fmla="*/ 50292 w 945927"/>
                <a:gd name="connsiteY48" fmla="*/ 721233 h 1170241"/>
                <a:gd name="connsiteX49" fmla="*/ 50292 w 945927"/>
                <a:gd name="connsiteY49" fmla="*/ 721233 h 1170241"/>
                <a:gd name="connsiteX50" fmla="*/ 51721 w 945927"/>
                <a:gd name="connsiteY50" fmla="*/ 721424 h 1170241"/>
                <a:gd name="connsiteX51" fmla="*/ 51721 w 945927"/>
                <a:gd name="connsiteY51" fmla="*/ 721424 h 1170241"/>
                <a:gd name="connsiteX52" fmla="*/ 53149 w 945927"/>
                <a:gd name="connsiteY52" fmla="*/ 721518 h 1170241"/>
                <a:gd name="connsiteX53" fmla="*/ 53149 w 945927"/>
                <a:gd name="connsiteY53" fmla="*/ 721518 h 1170241"/>
                <a:gd name="connsiteX54" fmla="*/ 54578 w 945927"/>
                <a:gd name="connsiteY54" fmla="*/ 721614 h 1170241"/>
                <a:gd name="connsiteX55" fmla="*/ 54578 w 945927"/>
                <a:gd name="connsiteY55" fmla="*/ 721614 h 1170241"/>
                <a:gd name="connsiteX56" fmla="*/ 55054 w 945927"/>
                <a:gd name="connsiteY56" fmla="*/ 721614 h 1170241"/>
                <a:gd name="connsiteX57" fmla="*/ 58198 w 945927"/>
                <a:gd name="connsiteY57" fmla="*/ 721709 h 1170241"/>
                <a:gd name="connsiteX58" fmla="*/ 77629 w 945927"/>
                <a:gd name="connsiteY58" fmla="*/ 721709 h 1170241"/>
                <a:gd name="connsiteX59" fmla="*/ 84582 w 945927"/>
                <a:gd name="connsiteY59" fmla="*/ 721709 h 1170241"/>
                <a:gd name="connsiteX60" fmla="*/ 165545 w 945927"/>
                <a:gd name="connsiteY60" fmla="*/ 802672 h 1170241"/>
                <a:gd name="connsiteX61" fmla="*/ 165545 w 945927"/>
                <a:gd name="connsiteY61" fmla="*/ 812483 h 1170241"/>
                <a:gd name="connsiteX62" fmla="*/ 165545 w 945927"/>
                <a:gd name="connsiteY62" fmla="*/ 814006 h 1170241"/>
                <a:gd name="connsiteX63" fmla="*/ 165545 w 945927"/>
                <a:gd name="connsiteY63" fmla="*/ 814006 h 1170241"/>
                <a:gd name="connsiteX64" fmla="*/ 165640 w 945927"/>
                <a:gd name="connsiteY64" fmla="*/ 815435 h 1170241"/>
                <a:gd name="connsiteX65" fmla="*/ 165640 w 945927"/>
                <a:gd name="connsiteY65" fmla="*/ 815435 h 1170241"/>
                <a:gd name="connsiteX66" fmla="*/ 165735 w 945927"/>
                <a:gd name="connsiteY66" fmla="*/ 816864 h 1170241"/>
                <a:gd name="connsiteX67" fmla="*/ 165735 w 945927"/>
                <a:gd name="connsiteY67" fmla="*/ 816864 h 1170241"/>
                <a:gd name="connsiteX68" fmla="*/ 165830 w 945927"/>
                <a:gd name="connsiteY68" fmla="*/ 818293 h 1170241"/>
                <a:gd name="connsiteX69" fmla="*/ 165830 w 945927"/>
                <a:gd name="connsiteY69" fmla="*/ 818293 h 1170241"/>
                <a:gd name="connsiteX70" fmla="*/ 166021 w 945927"/>
                <a:gd name="connsiteY70" fmla="*/ 819721 h 1170241"/>
                <a:gd name="connsiteX71" fmla="*/ 166021 w 945927"/>
                <a:gd name="connsiteY71" fmla="*/ 819721 h 1170241"/>
                <a:gd name="connsiteX72" fmla="*/ 166211 w 945927"/>
                <a:gd name="connsiteY72" fmla="*/ 821150 h 1170241"/>
                <a:gd name="connsiteX73" fmla="*/ 166211 w 945927"/>
                <a:gd name="connsiteY73" fmla="*/ 821150 h 1170241"/>
                <a:gd name="connsiteX74" fmla="*/ 166497 w 945927"/>
                <a:gd name="connsiteY74" fmla="*/ 822579 h 1170241"/>
                <a:gd name="connsiteX75" fmla="*/ 166497 w 945927"/>
                <a:gd name="connsiteY75" fmla="*/ 822579 h 1170241"/>
                <a:gd name="connsiteX76" fmla="*/ 166783 w 945927"/>
                <a:gd name="connsiteY76" fmla="*/ 824008 h 1170241"/>
                <a:gd name="connsiteX77" fmla="*/ 166783 w 945927"/>
                <a:gd name="connsiteY77" fmla="*/ 824008 h 1170241"/>
                <a:gd name="connsiteX78" fmla="*/ 167068 w 945927"/>
                <a:gd name="connsiteY78" fmla="*/ 825437 h 1170241"/>
                <a:gd name="connsiteX79" fmla="*/ 167068 w 945927"/>
                <a:gd name="connsiteY79" fmla="*/ 825437 h 1170241"/>
                <a:gd name="connsiteX80" fmla="*/ 167449 w 945927"/>
                <a:gd name="connsiteY80" fmla="*/ 826865 h 1170241"/>
                <a:gd name="connsiteX81" fmla="*/ 167449 w 945927"/>
                <a:gd name="connsiteY81" fmla="*/ 826865 h 1170241"/>
                <a:gd name="connsiteX82" fmla="*/ 167830 w 945927"/>
                <a:gd name="connsiteY82" fmla="*/ 828199 h 1170241"/>
                <a:gd name="connsiteX83" fmla="*/ 167830 w 945927"/>
                <a:gd name="connsiteY83" fmla="*/ 828199 h 1170241"/>
                <a:gd name="connsiteX84" fmla="*/ 168211 w 945927"/>
                <a:gd name="connsiteY84" fmla="*/ 829532 h 1170241"/>
                <a:gd name="connsiteX85" fmla="*/ 168211 w 945927"/>
                <a:gd name="connsiteY85" fmla="*/ 829532 h 1170241"/>
                <a:gd name="connsiteX86" fmla="*/ 168687 w 945927"/>
                <a:gd name="connsiteY86" fmla="*/ 830866 h 1170241"/>
                <a:gd name="connsiteX87" fmla="*/ 168687 w 945927"/>
                <a:gd name="connsiteY87" fmla="*/ 830866 h 1170241"/>
                <a:gd name="connsiteX88" fmla="*/ 169164 w 945927"/>
                <a:gd name="connsiteY88" fmla="*/ 832199 h 1170241"/>
                <a:gd name="connsiteX89" fmla="*/ 169164 w 945927"/>
                <a:gd name="connsiteY89" fmla="*/ 832199 h 1170241"/>
                <a:gd name="connsiteX90" fmla="*/ 169640 w 945927"/>
                <a:gd name="connsiteY90" fmla="*/ 833533 h 1170241"/>
                <a:gd name="connsiteX91" fmla="*/ 169640 w 945927"/>
                <a:gd name="connsiteY91" fmla="*/ 833533 h 1170241"/>
                <a:gd name="connsiteX92" fmla="*/ 170212 w 945927"/>
                <a:gd name="connsiteY92" fmla="*/ 834866 h 1170241"/>
                <a:gd name="connsiteX93" fmla="*/ 170212 w 945927"/>
                <a:gd name="connsiteY93" fmla="*/ 834866 h 1170241"/>
                <a:gd name="connsiteX94" fmla="*/ 170783 w 945927"/>
                <a:gd name="connsiteY94" fmla="*/ 836105 h 1170241"/>
                <a:gd name="connsiteX95" fmla="*/ 170783 w 945927"/>
                <a:gd name="connsiteY95" fmla="*/ 836105 h 1170241"/>
                <a:gd name="connsiteX96" fmla="*/ 171355 w 945927"/>
                <a:gd name="connsiteY96" fmla="*/ 837343 h 1170241"/>
                <a:gd name="connsiteX97" fmla="*/ 171355 w 945927"/>
                <a:gd name="connsiteY97" fmla="*/ 837343 h 1170241"/>
                <a:gd name="connsiteX98" fmla="*/ 172021 w 945927"/>
                <a:gd name="connsiteY98" fmla="*/ 838581 h 1170241"/>
                <a:gd name="connsiteX99" fmla="*/ 172021 w 945927"/>
                <a:gd name="connsiteY99" fmla="*/ 838581 h 1170241"/>
                <a:gd name="connsiteX100" fmla="*/ 172688 w 945927"/>
                <a:gd name="connsiteY100" fmla="*/ 839819 h 1170241"/>
                <a:gd name="connsiteX101" fmla="*/ 172688 w 945927"/>
                <a:gd name="connsiteY101" fmla="*/ 839819 h 1170241"/>
                <a:gd name="connsiteX102" fmla="*/ 173355 w 945927"/>
                <a:gd name="connsiteY102" fmla="*/ 841058 h 1170241"/>
                <a:gd name="connsiteX103" fmla="*/ 173355 w 945927"/>
                <a:gd name="connsiteY103" fmla="*/ 841058 h 1170241"/>
                <a:gd name="connsiteX104" fmla="*/ 174021 w 945927"/>
                <a:gd name="connsiteY104" fmla="*/ 842296 h 1170241"/>
                <a:gd name="connsiteX105" fmla="*/ 174021 w 945927"/>
                <a:gd name="connsiteY105" fmla="*/ 842296 h 1170241"/>
                <a:gd name="connsiteX106" fmla="*/ 174784 w 945927"/>
                <a:gd name="connsiteY106" fmla="*/ 843439 h 1170241"/>
                <a:gd name="connsiteX107" fmla="*/ 174784 w 945927"/>
                <a:gd name="connsiteY107" fmla="*/ 843439 h 1170241"/>
                <a:gd name="connsiteX108" fmla="*/ 175546 w 945927"/>
                <a:gd name="connsiteY108" fmla="*/ 844582 h 1170241"/>
                <a:gd name="connsiteX109" fmla="*/ 175546 w 945927"/>
                <a:gd name="connsiteY109" fmla="*/ 844582 h 1170241"/>
                <a:gd name="connsiteX110" fmla="*/ 176308 w 945927"/>
                <a:gd name="connsiteY110" fmla="*/ 845725 h 1170241"/>
                <a:gd name="connsiteX111" fmla="*/ 176308 w 945927"/>
                <a:gd name="connsiteY111" fmla="*/ 845725 h 1170241"/>
                <a:gd name="connsiteX112" fmla="*/ 177165 w 945927"/>
                <a:gd name="connsiteY112" fmla="*/ 846868 h 1170241"/>
                <a:gd name="connsiteX113" fmla="*/ 177165 w 945927"/>
                <a:gd name="connsiteY113" fmla="*/ 846868 h 1170241"/>
                <a:gd name="connsiteX114" fmla="*/ 178022 w 945927"/>
                <a:gd name="connsiteY114" fmla="*/ 848011 h 1170241"/>
                <a:gd name="connsiteX115" fmla="*/ 178022 w 945927"/>
                <a:gd name="connsiteY115" fmla="*/ 848011 h 1170241"/>
                <a:gd name="connsiteX116" fmla="*/ 178879 w 945927"/>
                <a:gd name="connsiteY116" fmla="*/ 849058 h 1170241"/>
                <a:gd name="connsiteX117" fmla="*/ 178879 w 945927"/>
                <a:gd name="connsiteY117" fmla="*/ 849058 h 1170241"/>
                <a:gd name="connsiteX118" fmla="*/ 179737 w 945927"/>
                <a:gd name="connsiteY118" fmla="*/ 850106 h 1170241"/>
                <a:gd name="connsiteX119" fmla="*/ 179737 w 945927"/>
                <a:gd name="connsiteY119" fmla="*/ 850106 h 1170241"/>
                <a:gd name="connsiteX120" fmla="*/ 180689 w 945927"/>
                <a:gd name="connsiteY120" fmla="*/ 851154 h 1170241"/>
                <a:gd name="connsiteX121" fmla="*/ 180689 w 945927"/>
                <a:gd name="connsiteY121" fmla="*/ 851154 h 1170241"/>
                <a:gd name="connsiteX122" fmla="*/ 181642 w 945927"/>
                <a:gd name="connsiteY122" fmla="*/ 852202 h 1170241"/>
                <a:gd name="connsiteX123" fmla="*/ 181642 w 945927"/>
                <a:gd name="connsiteY123" fmla="*/ 852202 h 1170241"/>
                <a:gd name="connsiteX124" fmla="*/ 182594 w 945927"/>
                <a:gd name="connsiteY124" fmla="*/ 853154 h 1170241"/>
                <a:gd name="connsiteX125" fmla="*/ 182594 w 945927"/>
                <a:gd name="connsiteY125" fmla="*/ 853154 h 1170241"/>
                <a:gd name="connsiteX126" fmla="*/ 183546 w 945927"/>
                <a:gd name="connsiteY126" fmla="*/ 854107 h 1170241"/>
                <a:gd name="connsiteX127" fmla="*/ 183546 w 945927"/>
                <a:gd name="connsiteY127" fmla="*/ 854107 h 1170241"/>
                <a:gd name="connsiteX128" fmla="*/ 184595 w 945927"/>
                <a:gd name="connsiteY128" fmla="*/ 855059 h 1170241"/>
                <a:gd name="connsiteX129" fmla="*/ 184595 w 945927"/>
                <a:gd name="connsiteY129" fmla="*/ 855059 h 1170241"/>
                <a:gd name="connsiteX130" fmla="*/ 185642 w 945927"/>
                <a:gd name="connsiteY130" fmla="*/ 856011 h 1170241"/>
                <a:gd name="connsiteX131" fmla="*/ 185642 w 945927"/>
                <a:gd name="connsiteY131" fmla="*/ 856011 h 1170241"/>
                <a:gd name="connsiteX132" fmla="*/ 186690 w 945927"/>
                <a:gd name="connsiteY132" fmla="*/ 856869 h 1170241"/>
                <a:gd name="connsiteX133" fmla="*/ 186690 w 945927"/>
                <a:gd name="connsiteY133" fmla="*/ 856869 h 1170241"/>
                <a:gd name="connsiteX134" fmla="*/ 187737 w 945927"/>
                <a:gd name="connsiteY134" fmla="*/ 857726 h 1170241"/>
                <a:gd name="connsiteX135" fmla="*/ 187737 w 945927"/>
                <a:gd name="connsiteY135" fmla="*/ 857726 h 1170241"/>
                <a:gd name="connsiteX136" fmla="*/ 188786 w 945927"/>
                <a:gd name="connsiteY136" fmla="*/ 858583 h 1170241"/>
                <a:gd name="connsiteX137" fmla="*/ 188786 w 945927"/>
                <a:gd name="connsiteY137" fmla="*/ 858583 h 1170241"/>
                <a:gd name="connsiteX138" fmla="*/ 189929 w 945927"/>
                <a:gd name="connsiteY138" fmla="*/ 859441 h 1170241"/>
                <a:gd name="connsiteX139" fmla="*/ 189929 w 945927"/>
                <a:gd name="connsiteY139" fmla="*/ 859441 h 1170241"/>
                <a:gd name="connsiteX140" fmla="*/ 191071 w 945927"/>
                <a:gd name="connsiteY140" fmla="*/ 860202 h 1170241"/>
                <a:gd name="connsiteX141" fmla="*/ 191071 w 945927"/>
                <a:gd name="connsiteY141" fmla="*/ 860202 h 1170241"/>
                <a:gd name="connsiteX142" fmla="*/ 192214 w 945927"/>
                <a:gd name="connsiteY142" fmla="*/ 860965 h 1170241"/>
                <a:gd name="connsiteX143" fmla="*/ 192214 w 945927"/>
                <a:gd name="connsiteY143" fmla="*/ 860965 h 1170241"/>
                <a:gd name="connsiteX144" fmla="*/ 193357 w 945927"/>
                <a:gd name="connsiteY144" fmla="*/ 861727 h 1170241"/>
                <a:gd name="connsiteX145" fmla="*/ 193357 w 945927"/>
                <a:gd name="connsiteY145" fmla="*/ 861727 h 1170241"/>
                <a:gd name="connsiteX146" fmla="*/ 194596 w 945927"/>
                <a:gd name="connsiteY146" fmla="*/ 862394 h 1170241"/>
                <a:gd name="connsiteX147" fmla="*/ 194596 w 945927"/>
                <a:gd name="connsiteY147" fmla="*/ 862394 h 1170241"/>
                <a:gd name="connsiteX148" fmla="*/ 195834 w 945927"/>
                <a:gd name="connsiteY148" fmla="*/ 863060 h 1170241"/>
                <a:gd name="connsiteX149" fmla="*/ 195834 w 945927"/>
                <a:gd name="connsiteY149" fmla="*/ 863060 h 1170241"/>
                <a:gd name="connsiteX150" fmla="*/ 197072 w 945927"/>
                <a:gd name="connsiteY150" fmla="*/ 863727 h 1170241"/>
                <a:gd name="connsiteX151" fmla="*/ 197072 w 945927"/>
                <a:gd name="connsiteY151" fmla="*/ 863727 h 1170241"/>
                <a:gd name="connsiteX152" fmla="*/ 198311 w 945927"/>
                <a:gd name="connsiteY152" fmla="*/ 864393 h 1170241"/>
                <a:gd name="connsiteX153" fmla="*/ 198311 w 945927"/>
                <a:gd name="connsiteY153" fmla="*/ 864393 h 1170241"/>
                <a:gd name="connsiteX154" fmla="*/ 199549 w 945927"/>
                <a:gd name="connsiteY154" fmla="*/ 864965 h 1170241"/>
                <a:gd name="connsiteX155" fmla="*/ 199549 w 945927"/>
                <a:gd name="connsiteY155" fmla="*/ 864965 h 1170241"/>
                <a:gd name="connsiteX156" fmla="*/ 200787 w 945927"/>
                <a:gd name="connsiteY156" fmla="*/ 865536 h 1170241"/>
                <a:gd name="connsiteX157" fmla="*/ 200787 w 945927"/>
                <a:gd name="connsiteY157" fmla="*/ 865536 h 1170241"/>
                <a:gd name="connsiteX158" fmla="*/ 202120 w 945927"/>
                <a:gd name="connsiteY158" fmla="*/ 866109 h 1170241"/>
                <a:gd name="connsiteX159" fmla="*/ 202120 w 945927"/>
                <a:gd name="connsiteY159" fmla="*/ 866109 h 1170241"/>
                <a:gd name="connsiteX160" fmla="*/ 203454 w 945927"/>
                <a:gd name="connsiteY160" fmla="*/ 866585 h 1170241"/>
                <a:gd name="connsiteX161" fmla="*/ 203454 w 945927"/>
                <a:gd name="connsiteY161" fmla="*/ 866585 h 1170241"/>
                <a:gd name="connsiteX162" fmla="*/ 204788 w 945927"/>
                <a:gd name="connsiteY162" fmla="*/ 867061 h 1170241"/>
                <a:gd name="connsiteX163" fmla="*/ 204788 w 945927"/>
                <a:gd name="connsiteY163" fmla="*/ 867061 h 1170241"/>
                <a:gd name="connsiteX164" fmla="*/ 206121 w 945927"/>
                <a:gd name="connsiteY164" fmla="*/ 867537 h 1170241"/>
                <a:gd name="connsiteX165" fmla="*/ 206121 w 945927"/>
                <a:gd name="connsiteY165" fmla="*/ 867537 h 1170241"/>
                <a:gd name="connsiteX166" fmla="*/ 207454 w 945927"/>
                <a:gd name="connsiteY166" fmla="*/ 867918 h 1170241"/>
                <a:gd name="connsiteX167" fmla="*/ 207454 w 945927"/>
                <a:gd name="connsiteY167" fmla="*/ 867918 h 1170241"/>
                <a:gd name="connsiteX168" fmla="*/ 208788 w 945927"/>
                <a:gd name="connsiteY168" fmla="*/ 868299 h 1170241"/>
                <a:gd name="connsiteX169" fmla="*/ 208788 w 945927"/>
                <a:gd name="connsiteY169" fmla="*/ 868299 h 1170241"/>
                <a:gd name="connsiteX170" fmla="*/ 210121 w 945927"/>
                <a:gd name="connsiteY170" fmla="*/ 868680 h 1170241"/>
                <a:gd name="connsiteX171" fmla="*/ 210121 w 945927"/>
                <a:gd name="connsiteY171" fmla="*/ 868680 h 1170241"/>
                <a:gd name="connsiteX172" fmla="*/ 211550 w 945927"/>
                <a:gd name="connsiteY172" fmla="*/ 868966 h 1170241"/>
                <a:gd name="connsiteX173" fmla="*/ 211550 w 945927"/>
                <a:gd name="connsiteY173" fmla="*/ 868966 h 1170241"/>
                <a:gd name="connsiteX174" fmla="*/ 212979 w 945927"/>
                <a:gd name="connsiteY174" fmla="*/ 869251 h 1170241"/>
                <a:gd name="connsiteX175" fmla="*/ 212979 w 945927"/>
                <a:gd name="connsiteY175" fmla="*/ 869251 h 1170241"/>
                <a:gd name="connsiteX176" fmla="*/ 214408 w 945927"/>
                <a:gd name="connsiteY176" fmla="*/ 869537 h 1170241"/>
                <a:gd name="connsiteX177" fmla="*/ 214408 w 945927"/>
                <a:gd name="connsiteY177" fmla="*/ 869537 h 1170241"/>
                <a:gd name="connsiteX178" fmla="*/ 215836 w 945927"/>
                <a:gd name="connsiteY178" fmla="*/ 869727 h 1170241"/>
                <a:gd name="connsiteX179" fmla="*/ 215836 w 945927"/>
                <a:gd name="connsiteY179" fmla="*/ 869727 h 1170241"/>
                <a:gd name="connsiteX180" fmla="*/ 217265 w 945927"/>
                <a:gd name="connsiteY180" fmla="*/ 869918 h 1170241"/>
                <a:gd name="connsiteX181" fmla="*/ 217265 w 945927"/>
                <a:gd name="connsiteY181" fmla="*/ 869918 h 1170241"/>
                <a:gd name="connsiteX182" fmla="*/ 218694 w 945927"/>
                <a:gd name="connsiteY182" fmla="*/ 870013 h 1170241"/>
                <a:gd name="connsiteX183" fmla="*/ 218694 w 945927"/>
                <a:gd name="connsiteY183" fmla="*/ 870013 h 1170241"/>
                <a:gd name="connsiteX184" fmla="*/ 220123 w 945927"/>
                <a:gd name="connsiteY184" fmla="*/ 870109 h 1170241"/>
                <a:gd name="connsiteX185" fmla="*/ 220123 w 945927"/>
                <a:gd name="connsiteY185" fmla="*/ 870109 h 1170241"/>
                <a:gd name="connsiteX186" fmla="*/ 220599 w 945927"/>
                <a:gd name="connsiteY186" fmla="*/ 870109 h 1170241"/>
                <a:gd name="connsiteX187" fmla="*/ 223742 w 945927"/>
                <a:gd name="connsiteY187" fmla="*/ 870204 h 1170241"/>
                <a:gd name="connsiteX188" fmla="*/ 236505 w 945927"/>
                <a:gd name="connsiteY188" fmla="*/ 870204 h 1170241"/>
                <a:gd name="connsiteX189" fmla="*/ 251270 w 945927"/>
                <a:gd name="connsiteY189" fmla="*/ 870204 h 1170241"/>
                <a:gd name="connsiteX190" fmla="*/ 332232 w 945927"/>
                <a:gd name="connsiteY190" fmla="*/ 951167 h 1170241"/>
                <a:gd name="connsiteX191" fmla="*/ 332232 w 945927"/>
                <a:gd name="connsiteY191" fmla="*/ 1014508 h 1170241"/>
                <a:gd name="connsiteX192" fmla="*/ 332232 w 945927"/>
                <a:gd name="connsiteY192" fmla="*/ 1109472 h 1170241"/>
                <a:gd name="connsiteX193" fmla="*/ 332232 w 945927"/>
                <a:gd name="connsiteY193" fmla="*/ 1112615 h 1170241"/>
                <a:gd name="connsiteX194" fmla="*/ 389858 w 945927"/>
                <a:gd name="connsiteY194" fmla="*/ 1170242 h 1170241"/>
                <a:gd name="connsiteX195" fmla="*/ 564737 w 945927"/>
                <a:gd name="connsiteY195" fmla="*/ 1170242 h 1170241"/>
                <a:gd name="connsiteX196" fmla="*/ 622363 w 945927"/>
                <a:gd name="connsiteY196" fmla="*/ 1112615 h 1170241"/>
                <a:gd name="connsiteX197" fmla="*/ 622363 w 945927"/>
                <a:gd name="connsiteY197" fmla="*/ 1104519 h 1170241"/>
                <a:gd name="connsiteX198" fmla="*/ 624364 w 945927"/>
                <a:gd name="connsiteY198" fmla="*/ 600646 h 1170241"/>
                <a:gd name="connsiteX199" fmla="*/ 572928 w 945927"/>
                <a:gd name="connsiteY199" fmla="*/ 559403 h 1170241"/>
                <a:gd name="connsiteX200" fmla="*/ 529494 w 945927"/>
                <a:gd name="connsiteY200" fmla="*/ 559403 h 1170241"/>
                <a:gd name="connsiteX201" fmla="*/ 471868 w 945927"/>
                <a:gd name="connsiteY201" fmla="*/ 501777 h 1170241"/>
                <a:gd name="connsiteX202" fmla="*/ 471868 w 945927"/>
                <a:gd name="connsiteY202" fmla="*/ 481774 h 1170241"/>
                <a:gd name="connsiteX203" fmla="*/ 529494 w 945927"/>
                <a:gd name="connsiteY203" fmla="*/ 424148 h 1170241"/>
                <a:gd name="connsiteX204" fmla="*/ 888302 w 945927"/>
                <a:gd name="connsiteY204" fmla="*/ 423100 h 1170241"/>
                <a:gd name="connsiteX205" fmla="*/ 945928 w 945927"/>
                <a:gd name="connsiteY205" fmla="*/ 365474 h 1170241"/>
                <a:gd name="connsiteX206" fmla="*/ 945928 w 945927"/>
                <a:gd name="connsiteY206" fmla="*/ 208312 h 1170241"/>
                <a:gd name="connsiteX207" fmla="*/ 945452 w 945927"/>
                <a:gd name="connsiteY207" fmla="*/ 202025 h 1170241"/>
                <a:gd name="connsiteX208" fmla="*/ 945452 w 945927"/>
                <a:gd name="connsiteY208" fmla="*/ 0 h 1170241"/>
                <a:gd name="connsiteX209" fmla="*/ 857726 w 945927"/>
                <a:gd name="connsiteY209" fmla="*/ 0 h 1170241"/>
                <a:gd name="connsiteX210" fmla="*/ 802577 w 945927"/>
                <a:gd name="connsiteY210" fmla="*/ 41053 h 1170241"/>
                <a:gd name="connsiteX211" fmla="*/ 802577 w 945927"/>
                <a:gd name="connsiteY211" fmla="*/ 83058 h 1170241"/>
                <a:gd name="connsiteX212" fmla="*/ 744950 w 945927"/>
                <a:gd name="connsiteY212" fmla="*/ 140684 h 1170241"/>
                <a:gd name="connsiteX213" fmla="*/ 635508 w 945927"/>
                <a:gd name="connsiteY213" fmla="*/ 140684 h 1170241"/>
                <a:gd name="connsiteX214" fmla="*/ 635508 w 945927"/>
                <a:gd name="connsiteY214" fmla="*/ 230505 h 1170241"/>
                <a:gd name="connsiteX215" fmla="*/ 577882 w 945927"/>
                <a:gd name="connsiteY215" fmla="*/ 288131 h 1170241"/>
                <a:gd name="connsiteX216" fmla="*/ 168402 w 945927"/>
                <a:gd name="connsiteY216" fmla="*/ 288131 h 1170241"/>
                <a:gd name="connsiteX217" fmla="*/ 165640 w 945927"/>
                <a:gd name="connsiteY217" fmla="*/ 812483 h 1170241"/>
                <a:gd name="connsiteX218" fmla="*/ 165640 w 945927"/>
                <a:gd name="connsiteY218" fmla="*/ 812483 h 1170241"/>
                <a:gd name="connsiteX219" fmla="*/ 165640 w 945927"/>
                <a:gd name="connsiteY219" fmla="*/ 812483 h 1170241"/>
                <a:gd name="connsiteX220" fmla="*/ 165640 w 945927"/>
                <a:gd name="connsiteY220" fmla="*/ 812483 h 1170241"/>
                <a:gd name="connsiteX221" fmla="*/ 0 w 945927"/>
                <a:gd name="connsiteY221" fmla="*/ 664083 h 1170241"/>
                <a:gd name="connsiteX222" fmla="*/ 0 w 945927"/>
                <a:gd name="connsiteY222" fmla="*/ 664083 h 1170241"/>
                <a:gd name="connsiteX223" fmla="*/ 0 w 945927"/>
                <a:gd name="connsiteY223" fmla="*/ 664083 h 1170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945927" h="1170241">
                  <a:moveTo>
                    <a:pt x="168402" y="288131"/>
                  </a:moveTo>
                  <a:lnTo>
                    <a:pt x="168402" y="520827"/>
                  </a:lnTo>
                  <a:cubicBezTo>
                    <a:pt x="168402" y="552450"/>
                    <a:pt x="142494" y="578453"/>
                    <a:pt x="110776" y="578453"/>
                  </a:cubicBezTo>
                  <a:lnTo>
                    <a:pt x="0" y="578453"/>
                  </a:lnTo>
                  <a:lnTo>
                    <a:pt x="0" y="664083"/>
                  </a:lnTo>
                  <a:lnTo>
                    <a:pt x="0" y="665607"/>
                  </a:lnTo>
                  <a:lnTo>
                    <a:pt x="0" y="665607"/>
                  </a:lnTo>
                  <a:lnTo>
                    <a:pt x="95" y="667036"/>
                  </a:lnTo>
                  <a:lnTo>
                    <a:pt x="95" y="667036"/>
                  </a:lnTo>
                  <a:lnTo>
                    <a:pt x="190" y="668465"/>
                  </a:lnTo>
                  <a:lnTo>
                    <a:pt x="190" y="668465"/>
                  </a:lnTo>
                  <a:lnTo>
                    <a:pt x="286" y="669893"/>
                  </a:lnTo>
                  <a:lnTo>
                    <a:pt x="286" y="669893"/>
                  </a:lnTo>
                  <a:lnTo>
                    <a:pt x="476" y="671322"/>
                  </a:lnTo>
                  <a:lnTo>
                    <a:pt x="476" y="671322"/>
                  </a:lnTo>
                  <a:lnTo>
                    <a:pt x="667" y="672751"/>
                  </a:lnTo>
                  <a:lnTo>
                    <a:pt x="667" y="672751"/>
                  </a:lnTo>
                  <a:cubicBezTo>
                    <a:pt x="3619" y="690467"/>
                    <a:pt x="14001" y="705421"/>
                    <a:pt x="29623" y="714375"/>
                  </a:cubicBezTo>
                  <a:lnTo>
                    <a:pt x="30194" y="714661"/>
                  </a:lnTo>
                  <a:lnTo>
                    <a:pt x="30194" y="714661"/>
                  </a:lnTo>
                  <a:lnTo>
                    <a:pt x="31432" y="715328"/>
                  </a:lnTo>
                  <a:lnTo>
                    <a:pt x="31432" y="715328"/>
                  </a:lnTo>
                  <a:lnTo>
                    <a:pt x="32671" y="715994"/>
                  </a:lnTo>
                  <a:lnTo>
                    <a:pt x="32671" y="715994"/>
                  </a:lnTo>
                  <a:lnTo>
                    <a:pt x="33909" y="716566"/>
                  </a:lnTo>
                  <a:lnTo>
                    <a:pt x="33909" y="716566"/>
                  </a:lnTo>
                  <a:cubicBezTo>
                    <a:pt x="34290" y="716756"/>
                    <a:pt x="34766" y="716947"/>
                    <a:pt x="35147" y="717137"/>
                  </a:cubicBezTo>
                  <a:lnTo>
                    <a:pt x="35147" y="717137"/>
                  </a:lnTo>
                  <a:lnTo>
                    <a:pt x="36481" y="717709"/>
                  </a:lnTo>
                  <a:lnTo>
                    <a:pt x="36481" y="717709"/>
                  </a:lnTo>
                  <a:lnTo>
                    <a:pt x="37814" y="718185"/>
                  </a:lnTo>
                  <a:lnTo>
                    <a:pt x="37814" y="718185"/>
                  </a:lnTo>
                  <a:lnTo>
                    <a:pt x="39148" y="718661"/>
                  </a:lnTo>
                  <a:lnTo>
                    <a:pt x="39148" y="718661"/>
                  </a:lnTo>
                  <a:lnTo>
                    <a:pt x="39433" y="718756"/>
                  </a:lnTo>
                  <a:cubicBezTo>
                    <a:pt x="40195" y="718947"/>
                    <a:pt x="40767" y="719233"/>
                    <a:pt x="41529" y="719423"/>
                  </a:cubicBezTo>
                  <a:lnTo>
                    <a:pt x="41815" y="719519"/>
                  </a:lnTo>
                  <a:lnTo>
                    <a:pt x="41815" y="719519"/>
                  </a:lnTo>
                  <a:lnTo>
                    <a:pt x="43148" y="719899"/>
                  </a:lnTo>
                  <a:lnTo>
                    <a:pt x="43148" y="719899"/>
                  </a:lnTo>
                  <a:lnTo>
                    <a:pt x="44482" y="720280"/>
                  </a:lnTo>
                  <a:lnTo>
                    <a:pt x="44482" y="720280"/>
                  </a:lnTo>
                  <a:lnTo>
                    <a:pt x="45910" y="720566"/>
                  </a:lnTo>
                  <a:lnTo>
                    <a:pt x="45910" y="720566"/>
                  </a:lnTo>
                  <a:cubicBezTo>
                    <a:pt x="46387" y="720662"/>
                    <a:pt x="46863" y="720757"/>
                    <a:pt x="47339" y="720852"/>
                  </a:cubicBezTo>
                  <a:lnTo>
                    <a:pt x="47339" y="720852"/>
                  </a:lnTo>
                  <a:lnTo>
                    <a:pt x="47625" y="720852"/>
                  </a:lnTo>
                  <a:cubicBezTo>
                    <a:pt x="48482" y="720947"/>
                    <a:pt x="49149" y="721138"/>
                    <a:pt x="50006" y="721233"/>
                  </a:cubicBezTo>
                  <a:lnTo>
                    <a:pt x="50292" y="721233"/>
                  </a:lnTo>
                  <a:lnTo>
                    <a:pt x="50292" y="721233"/>
                  </a:lnTo>
                  <a:lnTo>
                    <a:pt x="51721" y="721424"/>
                  </a:lnTo>
                  <a:lnTo>
                    <a:pt x="51721" y="721424"/>
                  </a:lnTo>
                  <a:lnTo>
                    <a:pt x="53149" y="721518"/>
                  </a:lnTo>
                  <a:lnTo>
                    <a:pt x="53149" y="721518"/>
                  </a:lnTo>
                  <a:lnTo>
                    <a:pt x="54578" y="721614"/>
                  </a:lnTo>
                  <a:lnTo>
                    <a:pt x="54578" y="721614"/>
                  </a:lnTo>
                  <a:lnTo>
                    <a:pt x="55054" y="721614"/>
                  </a:lnTo>
                  <a:cubicBezTo>
                    <a:pt x="56197" y="721614"/>
                    <a:pt x="57055" y="721709"/>
                    <a:pt x="58198" y="721709"/>
                  </a:cubicBezTo>
                  <a:lnTo>
                    <a:pt x="77629" y="721709"/>
                  </a:lnTo>
                  <a:lnTo>
                    <a:pt x="84582" y="721709"/>
                  </a:lnTo>
                  <a:cubicBezTo>
                    <a:pt x="129159" y="721709"/>
                    <a:pt x="165545" y="758095"/>
                    <a:pt x="165545" y="802672"/>
                  </a:cubicBezTo>
                  <a:lnTo>
                    <a:pt x="165545" y="812483"/>
                  </a:lnTo>
                  <a:lnTo>
                    <a:pt x="165545" y="814006"/>
                  </a:lnTo>
                  <a:lnTo>
                    <a:pt x="165545" y="814006"/>
                  </a:lnTo>
                  <a:lnTo>
                    <a:pt x="165640" y="815435"/>
                  </a:lnTo>
                  <a:lnTo>
                    <a:pt x="165640" y="815435"/>
                  </a:lnTo>
                  <a:lnTo>
                    <a:pt x="165735" y="816864"/>
                  </a:lnTo>
                  <a:lnTo>
                    <a:pt x="165735" y="816864"/>
                  </a:lnTo>
                  <a:lnTo>
                    <a:pt x="165830" y="818293"/>
                  </a:lnTo>
                  <a:lnTo>
                    <a:pt x="165830" y="818293"/>
                  </a:lnTo>
                  <a:lnTo>
                    <a:pt x="166021" y="819721"/>
                  </a:lnTo>
                  <a:lnTo>
                    <a:pt x="166021" y="819721"/>
                  </a:lnTo>
                  <a:lnTo>
                    <a:pt x="166211" y="821150"/>
                  </a:lnTo>
                  <a:lnTo>
                    <a:pt x="166211" y="821150"/>
                  </a:lnTo>
                  <a:lnTo>
                    <a:pt x="166497" y="822579"/>
                  </a:lnTo>
                  <a:lnTo>
                    <a:pt x="166497" y="822579"/>
                  </a:lnTo>
                  <a:cubicBezTo>
                    <a:pt x="166592" y="823055"/>
                    <a:pt x="166688" y="823531"/>
                    <a:pt x="166783" y="824008"/>
                  </a:cubicBezTo>
                  <a:lnTo>
                    <a:pt x="166783" y="824008"/>
                  </a:lnTo>
                  <a:lnTo>
                    <a:pt x="167068" y="825437"/>
                  </a:lnTo>
                  <a:lnTo>
                    <a:pt x="167068" y="825437"/>
                  </a:lnTo>
                  <a:lnTo>
                    <a:pt x="167449" y="826865"/>
                  </a:lnTo>
                  <a:lnTo>
                    <a:pt x="167449" y="826865"/>
                  </a:lnTo>
                  <a:lnTo>
                    <a:pt x="167830" y="828199"/>
                  </a:lnTo>
                  <a:lnTo>
                    <a:pt x="167830" y="828199"/>
                  </a:lnTo>
                  <a:lnTo>
                    <a:pt x="168211" y="829532"/>
                  </a:lnTo>
                  <a:lnTo>
                    <a:pt x="168211" y="829532"/>
                  </a:lnTo>
                  <a:lnTo>
                    <a:pt x="168687" y="830866"/>
                  </a:lnTo>
                  <a:lnTo>
                    <a:pt x="168687" y="830866"/>
                  </a:lnTo>
                  <a:lnTo>
                    <a:pt x="169164" y="832199"/>
                  </a:lnTo>
                  <a:lnTo>
                    <a:pt x="169164" y="832199"/>
                  </a:lnTo>
                  <a:lnTo>
                    <a:pt x="169640" y="833533"/>
                  </a:lnTo>
                  <a:lnTo>
                    <a:pt x="169640" y="833533"/>
                  </a:lnTo>
                  <a:lnTo>
                    <a:pt x="170212" y="834866"/>
                  </a:lnTo>
                  <a:lnTo>
                    <a:pt x="170212" y="834866"/>
                  </a:lnTo>
                  <a:lnTo>
                    <a:pt x="170783" y="836105"/>
                  </a:lnTo>
                  <a:lnTo>
                    <a:pt x="170783" y="836105"/>
                  </a:lnTo>
                  <a:lnTo>
                    <a:pt x="171355" y="837343"/>
                  </a:lnTo>
                  <a:lnTo>
                    <a:pt x="171355" y="837343"/>
                  </a:lnTo>
                  <a:lnTo>
                    <a:pt x="172021" y="838581"/>
                  </a:lnTo>
                  <a:lnTo>
                    <a:pt x="172021" y="838581"/>
                  </a:lnTo>
                  <a:cubicBezTo>
                    <a:pt x="172212" y="838962"/>
                    <a:pt x="172402" y="839438"/>
                    <a:pt x="172688" y="839819"/>
                  </a:cubicBezTo>
                  <a:lnTo>
                    <a:pt x="172688" y="839819"/>
                  </a:lnTo>
                  <a:lnTo>
                    <a:pt x="173355" y="841058"/>
                  </a:lnTo>
                  <a:lnTo>
                    <a:pt x="173355" y="841058"/>
                  </a:lnTo>
                  <a:cubicBezTo>
                    <a:pt x="173545" y="841438"/>
                    <a:pt x="173831" y="841819"/>
                    <a:pt x="174021" y="842296"/>
                  </a:cubicBezTo>
                  <a:lnTo>
                    <a:pt x="174021" y="842296"/>
                  </a:lnTo>
                  <a:lnTo>
                    <a:pt x="174784" y="843439"/>
                  </a:lnTo>
                  <a:lnTo>
                    <a:pt x="174784" y="843439"/>
                  </a:lnTo>
                  <a:lnTo>
                    <a:pt x="175546" y="844582"/>
                  </a:lnTo>
                  <a:lnTo>
                    <a:pt x="175546" y="844582"/>
                  </a:lnTo>
                  <a:lnTo>
                    <a:pt x="176308" y="845725"/>
                  </a:lnTo>
                  <a:lnTo>
                    <a:pt x="176308" y="845725"/>
                  </a:lnTo>
                  <a:lnTo>
                    <a:pt x="177165" y="846868"/>
                  </a:lnTo>
                  <a:lnTo>
                    <a:pt x="177165" y="846868"/>
                  </a:lnTo>
                  <a:lnTo>
                    <a:pt x="178022" y="848011"/>
                  </a:lnTo>
                  <a:lnTo>
                    <a:pt x="178022" y="848011"/>
                  </a:lnTo>
                  <a:cubicBezTo>
                    <a:pt x="178308" y="848392"/>
                    <a:pt x="178594" y="848773"/>
                    <a:pt x="178879" y="849058"/>
                  </a:cubicBezTo>
                  <a:lnTo>
                    <a:pt x="178879" y="849058"/>
                  </a:lnTo>
                  <a:lnTo>
                    <a:pt x="179737" y="850106"/>
                  </a:lnTo>
                  <a:lnTo>
                    <a:pt x="179737" y="850106"/>
                  </a:lnTo>
                  <a:lnTo>
                    <a:pt x="180689" y="851154"/>
                  </a:lnTo>
                  <a:lnTo>
                    <a:pt x="180689" y="851154"/>
                  </a:lnTo>
                  <a:lnTo>
                    <a:pt x="181642" y="852202"/>
                  </a:lnTo>
                  <a:lnTo>
                    <a:pt x="181642" y="852202"/>
                  </a:lnTo>
                  <a:lnTo>
                    <a:pt x="182594" y="853154"/>
                  </a:lnTo>
                  <a:lnTo>
                    <a:pt x="182594" y="853154"/>
                  </a:lnTo>
                  <a:lnTo>
                    <a:pt x="183546" y="854107"/>
                  </a:lnTo>
                  <a:lnTo>
                    <a:pt x="183546" y="854107"/>
                  </a:lnTo>
                  <a:lnTo>
                    <a:pt x="184595" y="855059"/>
                  </a:lnTo>
                  <a:lnTo>
                    <a:pt x="184595" y="855059"/>
                  </a:lnTo>
                  <a:lnTo>
                    <a:pt x="185642" y="856011"/>
                  </a:lnTo>
                  <a:lnTo>
                    <a:pt x="185642" y="856011"/>
                  </a:lnTo>
                  <a:lnTo>
                    <a:pt x="186690" y="856869"/>
                  </a:lnTo>
                  <a:lnTo>
                    <a:pt x="186690" y="856869"/>
                  </a:lnTo>
                  <a:cubicBezTo>
                    <a:pt x="187071" y="857155"/>
                    <a:pt x="187452" y="857440"/>
                    <a:pt x="187737" y="857726"/>
                  </a:cubicBezTo>
                  <a:lnTo>
                    <a:pt x="187737" y="857726"/>
                  </a:lnTo>
                  <a:cubicBezTo>
                    <a:pt x="188119" y="858012"/>
                    <a:pt x="188500" y="858298"/>
                    <a:pt x="188786" y="858583"/>
                  </a:cubicBezTo>
                  <a:lnTo>
                    <a:pt x="188786" y="858583"/>
                  </a:lnTo>
                  <a:lnTo>
                    <a:pt x="189929" y="859441"/>
                  </a:lnTo>
                  <a:lnTo>
                    <a:pt x="189929" y="859441"/>
                  </a:lnTo>
                  <a:lnTo>
                    <a:pt x="191071" y="860202"/>
                  </a:lnTo>
                  <a:lnTo>
                    <a:pt x="191071" y="860202"/>
                  </a:lnTo>
                  <a:lnTo>
                    <a:pt x="192214" y="860965"/>
                  </a:lnTo>
                  <a:lnTo>
                    <a:pt x="192214" y="860965"/>
                  </a:lnTo>
                  <a:lnTo>
                    <a:pt x="193357" y="861727"/>
                  </a:lnTo>
                  <a:lnTo>
                    <a:pt x="193357" y="861727"/>
                  </a:lnTo>
                  <a:lnTo>
                    <a:pt x="194596" y="862394"/>
                  </a:lnTo>
                  <a:lnTo>
                    <a:pt x="194596" y="862394"/>
                  </a:lnTo>
                  <a:lnTo>
                    <a:pt x="195834" y="863060"/>
                  </a:lnTo>
                  <a:lnTo>
                    <a:pt x="195834" y="863060"/>
                  </a:lnTo>
                  <a:lnTo>
                    <a:pt x="197072" y="863727"/>
                  </a:lnTo>
                  <a:lnTo>
                    <a:pt x="197072" y="863727"/>
                  </a:lnTo>
                  <a:lnTo>
                    <a:pt x="198311" y="864393"/>
                  </a:lnTo>
                  <a:lnTo>
                    <a:pt x="198311" y="864393"/>
                  </a:lnTo>
                  <a:lnTo>
                    <a:pt x="199549" y="864965"/>
                  </a:lnTo>
                  <a:lnTo>
                    <a:pt x="199549" y="864965"/>
                  </a:lnTo>
                  <a:cubicBezTo>
                    <a:pt x="199930" y="865156"/>
                    <a:pt x="200406" y="865346"/>
                    <a:pt x="200787" y="865536"/>
                  </a:cubicBezTo>
                  <a:lnTo>
                    <a:pt x="200787" y="865536"/>
                  </a:lnTo>
                  <a:lnTo>
                    <a:pt x="202120" y="866109"/>
                  </a:lnTo>
                  <a:lnTo>
                    <a:pt x="202120" y="866109"/>
                  </a:lnTo>
                  <a:lnTo>
                    <a:pt x="203454" y="866585"/>
                  </a:lnTo>
                  <a:lnTo>
                    <a:pt x="203454" y="866585"/>
                  </a:lnTo>
                  <a:lnTo>
                    <a:pt x="204788" y="867061"/>
                  </a:lnTo>
                  <a:lnTo>
                    <a:pt x="204788" y="867061"/>
                  </a:lnTo>
                  <a:lnTo>
                    <a:pt x="206121" y="867537"/>
                  </a:lnTo>
                  <a:lnTo>
                    <a:pt x="206121" y="867537"/>
                  </a:lnTo>
                  <a:lnTo>
                    <a:pt x="207454" y="867918"/>
                  </a:lnTo>
                  <a:lnTo>
                    <a:pt x="207454" y="867918"/>
                  </a:lnTo>
                  <a:lnTo>
                    <a:pt x="208788" y="868299"/>
                  </a:lnTo>
                  <a:lnTo>
                    <a:pt x="208788" y="868299"/>
                  </a:lnTo>
                  <a:lnTo>
                    <a:pt x="210121" y="868680"/>
                  </a:lnTo>
                  <a:lnTo>
                    <a:pt x="210121" y="868680"/>
                  </a:lnTo>
                  <a:lnTo>
                    <a:pt x="211550" y="868966"/>
                  </a:lnTo>
                  <a:lnTo>
                    <a:pt x="211550" y="868966"/>
                  </a:lnTo>
                  <a:cubicBezTo>
                    <a:pt x="212027" y="869061"/>
                    <a:pt x="212503" y="869156"/>
                    <a:pt x="212979" y="869251"/>
                  </a:cubicBezTo>
                  <a:lnTo>
                    <a:pt x="212979" y="869251"/>
                  </a:lnTo>
                  <a:lnTo>
                    <a:pt x="214408" y="869537"/>
                  </a:lnTo>
                  <a:lnTo>
                    <a:pt x="214408" y="869537"/>
                  </a:lnTo>
                  <a:lnTo>
                    <a:pt x="215836" y="869727"/>
                  </a:lnTo>
                  <a:lnTo>
                    <a:pt x="215836" y="869727"/>
                  </a:lnTo>
                  <a:lnTo>
                    <a:pt x="217265" y="869918"/>
                  </a:lnTo>
                  <a:lnTo>
                    <a:pt x="217265" y="869918"/>
                  </a:lnTo>
                  <a:lnTo>
                    <a:pt x="218694" y="870013"/>
                  </a:lnTo>
                  <a:lnTo>
                    <a:pt x="218694" y="870013"/>
                  </a:lnTo>
                  <a:lnTo>
                    <a:pt x="220123" y="870109"/>
                  </a:lnTo>
                  <a:lnTo>
                    <a:pt x="220123" y="870109"/>
                  </a:lnTo>
                  <a:lnTo>
                    <a:pt x="220599" y="870109"/>
                  </a:lnTo>
                  <a:cubicBezTo>
                    <a:pt x="221646" y="870109"/>
                    <a:pt x="222599" y="870204"/>
                    <a:pt x="223742" y="870204"/>
                  </a:cubicBezTo>
                  <a:lnTo>
                    <a:pt x="236505" y="870204"/>
                  </a:lnTo>
                  <a:lnTo>
                    <a:pt x="251270" y="870204"/>
                  </a:lnTo>
                  <a:cubicBezTo>
                    <a:pt x="295846" y="870204"/>
                    <a:pt x="332232" y="906590"/>
                    <a:pt x="332232" y="951167"/>
                  </a:cubicBezTo>
                  <a:lnTo>
                    <a:pt x="332232" y="1014508"/>
                  </a:lnTo>
                  <a:lnTo>
                    <a:pt x="332232" y="1109472"/>
                  </a:lnTo>
                  <a:lnTo>
                    <a:pt x="332232" y="1112615"/>
                  </a:lnTo>
                  <a:cubicBezTo>
                    <a:pt x="332232" y="1144238"/>
                    <a:pt x="358140" y="1170242"/>
                    <a:pt x="389858" y="1170242"/>
                  </a:cubicBezTo>
                  <a:lnTo>
                    <a:pt x="564737" y="1170242"/>
                  </a:lnTo>
                  <a:cubicBezTo>
                    <a:pt x="596455" y="1170242"/>
                    <a:pt x="622363" y="1144333"/>
                    <a:pt x="622363" y="1112615"/>
                  </a:cubicBezTo>
                  <a:lnTo>
                    <a:pt x="622363" y="1104519"/>
                  </a:lnTo>
                  <a:lnTo>
                    <a:pt x="624364" y="600646"/>
                  </a:lnTo>
                  <a:cubicBezTo>
                    <a:pt x="623983" y="579501"/>
                    <a:pt x="613696" y="559403"/>
                    <a:pt x="572928" y="559403"/>
                  </a:cubicBezTo>
                  <a:lnTo>
                    <a:pt x="529494" y="559403"/>
                  </a:lnTo>
                  <a:cubicBezTo>
                    <a:pt x="497777" y="559403"/>
                    <a:pt x="471868" y="533495"/>
                    <a:pt x="471868" y="501777"/>
                  </a:cubicBezTo>
                  <a:lnTo>
                    <a:pt x="471868" y="481774"/>
                  </a:lnTo>
                  <a:cubicBezTo>
                    <a:pt x="471868" y="450056"/>
                    <a:pt x="497777" y="424148"/>
                    <a:pt x="529494" y="424148"/>
                  </a:cubicBezTo>
                  <a:cubicBezTo>
                    <a:pt x="649034" y="424148"/>
                    <a:pt x="767810" y="423100"/>
                    <a:pt x="888302" y="423100"/>
                  </a:cubicBezTo>
                  <a:cubicBezTo>
                    <a:pt x="920019" y="423100"/>
                    <a:pt x="945928" y="397192"/>
                    <a:pt x="945928" y="365474"/>
                  </a:cubicBezTo>
                  <a:lnTo>
                    <a:pt x="945928" y="208312"/>
                  </a:lnTo>
                  <a:cubicBezTo>
                    <a:pt x="945928" y="205359"/>
                    <a:pt x="945928" y="202501"/>
                    <a:pt x="945452" y="202025"/>
                  </a:cubicBezTo>
                  <a:lnTo>
                    <a:pt x="945452" y="0"/>
                  </a:lnTo>
                  <a:lnTo>
                    <a:pt x="857726" y="0"/>
                  </a:lnTo>
                  <a:cubicBezTo>
                    <a:pt x="831818" y="0"/>
                    <a:pt x="809720" y="17431"/>
                    <a:pt x="802577" y="41053"/>
                  </a:cubicBezTo>
                  <a:lnTo>
                    <a:pt x="802577" y="83058"/>
                  </a:lnTo>
                  <a:cubicBezTo>
                    <a:pt x="802577" y="114681"/>
                    <a:pt x="776668" y="140684"/>
                    <a:pt x="744950" y="140684"/>
                  </a:cubicBezTo>
                  <a:lnTo>
                    <a:pt x="635508" y="140684"/>
                  </a:lnTo>
                  <a:lnTo>
                    <a:pt x="635508" y="230505"/>
                  </a:lnTo>
                  <a:cubicBezTo>
                    <a:pt x="635508" y="262128"/>
                    <a:pt x="609600" y="288131"/>
                    <a:pt x="577882" y="288131"/>
                  </a:cubicBezTo>
                  <a:lnTo>
                    <a:pt x="168402" y="288131"/>
                  </a:lnTo>
                  <a:close/>
                  <a:moveTo>
                    <a:pt x="165640" y="812483"/>
                  </a:moveTo>
                  <a:lnTo>
                    <a:pt x="165640" y="812483"/>
                  </a:lnTo>
                  <a:lnTo>
                    <a:pt x="165640" y="812483"/>
                  </a:lnTo>
                  <a:lnTo>
                    <a:pt x="165640" y="812483"/>
                  </a:lnTo>
                  <a:close/>
                  <a:moveTo>
                    <a:pt x="0" y="664083"/>
                  </a:moveTo>
                  <a:lnTo>
                    <a:pt x="0" y="664083"/>
                  </a:lnTo>
                  <a:lnTo>
                    <a:pt x="0" y="664083"/>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7" name="Freeform: Shape 196">
              <a:extLst>
                <a:ext uri="{FF2B5EF4-FFF2-40B4-BE49-F238E27FC236}">
                  <a16:creationId xmlns:a16="http://schemas.microsoft.com/office/drawing/2014/main" id="{8689E83A-946B-4ABB-8201-E09BE6568FDA}"/>
                </a:ext>
              </a:extLst>
            </p:cNvPr>
            <p:cNvSpPr/>
            <p:nvPr/>
          </p:nvSpPr>
          <p:spPr>
            <a:xfrm>
              <a:off x="5763689" y="4552457"/>
              <a:ext cx="678846" cy="1020508"/>
            </a:xfrm>
            <a:custGeom>
              <a:avLst/>
              <a:gdLst>
                <a:gd name="connsiteX0" fmla="*/ 374332 w 678846"/>
                <a:gd name="connsiteY0" fmla="*/ 1020509 h 1020508"/>
                <a:gd name="connsiteX1" fmla="*/ 678847 w 678846"/>
                <a:gd name="connsiteY1" fmla="*/ 1020509 h 1020508"/>
                <a:gd name="connsiteX2" fmla="*/ 678847 w 678846"/>
                <a:gd name="connsiteY2" fmla="*/ 0 h 1020508"/>
                <a:gd name="connsiteX3" fmla="*/ 544925 w 678846"/>
                <a:gd name="connsiteY3" fmla="*/ 0 h 1020508"/>
                <a:gd name="connsiteX4" fmla="*/ 474916 w 678846"/>
                <a:gd name="connsiteY4" fmla="*/ 70009 h 1020508"/>
                <a:gd name="connsiteX5" fmla="*/ 474916 w 678846"/>
                <a:gd name="connsiteY5" fmla="*/ 153258 h 1020508"/>
                <a:gd name="connsiteX6" fmla="*/ 234410 w 678846"/>
                <a:gd name="connsiteY6" fmla="*/ 153258 h 1020508"/>
                <a:gd name="connsiteX7" fmla="*/ 164402 w 678846"/>
                <a:gd name="connsiteY7" fmla="*/ 223266 h 1020508"/>
                <a:gd name="connsiteX8" fmla="*/ 164402 w 678846"/>
                <a:gd name="connsiteY8" fmla="*/ 284893 h 1020508"/>
                <a:gd name="connsiteX9" fmla="*/ 70009 w 678846"/>
                <a:gd name="connsiteY9" fmla="*/ 284893 h 1020508"/>
                <a:gd name="connsiteX10" fmla="*/ 0 w 678846"/>
                <a:gd name="connsiteY10" fmla="*/ 354902 h 1020508"/>
                <a:gd name="connsiteX11" fmla="*/ 0 w 678846"/>
                <a:gd name="connsiteY11" fmla="*/ 662845 h 1020508"/>
                <a:gd name="connsiteX12" fmla="*/ 70009 w 678846"/>
                <a:gd name="connsiteY12" fmla="*/ 732854 h 1020508"/>
                <a:gd name="connsiteX13" fmla="*/ 122682 w 678846"/>
                <a:gd name="connsiteY13" fmla="*/ 732854 h 1020508"/>
                <a:gd name="connsiteX14" fmla="*/ 164402 w 678846"/>
                <a:gd name="connsiteY14" fmla="*/ 777145 h 1020508"/>
                <a:gd name="connsiteX15" fmla="*/ 164402 w 678846"/>
                <a:gd name="connsiteY15" fmla="*/ 806292 h 1020508"/>
                <a:gd name="connsiteX16" fmla="*/ 234410 w 678846"/>
                <a:gd name="connsiteY16" fmla="*/ 876300 h 1020508"/>
                <a:gd name="connsiteX17" fmla="*/ 316706 w 678846"/>
                <a:gd name="connsiteY17" fmla="*/ 876300 h 1020508"/>
                <a:gd name="connsiteX18" fmla="*/ 316706 w 678846"/>
                <a:gd name="connsiteY18" fmla="*/ 962692 h 1020508"/>
                <a:gd name="connsiteX19" fmla="*/ 374332 w 678846"/>
                <a:gd name="connsiteY19" fmla="*/ 1020509 h 1020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8846" h="1020508">
                  <a:moveTo>
                    <a:pt x="374332" y="1020509"/>
                  </a:moveTo>
                  <a:lnTo>
                    <a:pt x="678847" y="1020509"/>
                  </a:lnTo>
                  <a:lnTo>
                    <a:pt x="678847" y="0"/>
                  </a:lnTo>
                  <a:lnTo>
                    <a:pt x="544925" y="0"/>
                  </a:lnTo>
                  <a:cubicBezTo>
                    <a:pt x="506444" y="0"/>
                    <a:pt x="474916" y="31528"/>
                    <a:pt x="474916" y="70009"/>
                  </a:cubicBezTo>
                  <a:lnTo>
                    <a:pt x="474916" y="153258"/>
                  </a:lnTo>
                  <a:lnTo>
                    <a:pt x="234410" y="153258"/>
                  </a:lnTo>
                  <a:cubicBezTo>
                    <a:pt x="195929" y="153258"/>
                    <a:pt x="164402" y="184785"/>
                    <a:pt x="164402" y="223266"/>
                  </a:cubicBezTo>
                  <a:lnTo>
                    <a:pt x="164402" y="284893"/>
                  </a:lnTo>
                  <a:lnTo>
                    <a:pt x="70009" y="284893"/>
                  </a:lnTo>
                  <a:cubicBezTo>
                    <a:pt x="31528" y="284893"/>
                    <a:pt x="0" y="316421"/>
                    <a:pt x="0" y="354902"/>
                  </a:cubicBezTo>
                  <a:lnTo>
                    <a:pt x="0" y="662845"/>
                  </a:lnTo>
                  <a:cubicBezTo>
                    <a:pt x="0" y="701326"/>
                    <a:pt x="31528" y="732854"/>
                    <a:pt x="70009" y="732854"/>
                  </a:cubicBezTo>
                  <a:lnTo>
                    <a:pt x="122682" y="732854"/>
                  </a:lnTo>
                  <a:cubicBezTo>
                    <a:pt x="149066" y="734854"/>
                    <a:pt x="165545" y="754475"/>
                    <a:pt x="164402" y="777145"/>
                  </a:cubicBezTo>
                  <a:lnTo>
                    <a:pt x="164402" y="806292"/>
                  </a:lnTo>
                  <a:cubicBezTo>
                    <a:pt x="164402" y="844772"/>
                    <a:pt x="195929" y="876300"/>
                    <a:pt x="234410" y="876300"/>
                  </a:cubicBezTo>
                  <a:lnTo>
                    <a:pt x="316706" y="876300"/>
                  </a:lnTo>
                  <a:lnTo>
                    <a:pt x="316706" y="962692"/>
                  </a:lnTo>
                  <a:cubicBezTo>
                    <a:pt x="316706" y="994600"/>
                    <a:pt x="342615" y="1020509"/>
                    <a:pt x="374332" y="1020509"/>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8" name="Freeform: Shape 197">
              <a:extLst>
                <a:ext uri="{FF2B5EF4-FFF2-40B4-BE49-F238E27FC236}">
                  <a16:creationId xmlns:a16="http://schemas.microsoft.com/office/drawing/2014/main" id="{DC63CD5D-D5F2-4A34-8958-0A5B571439E7}"/>
                </a:ext>
              </a:extLst>
            </p:cNvPr>
            <p:cNvSpPr/>
            <p:nvPr/>
          </p:nvSpPr>
          <p:spPr>
            <a:xfrm>
              <a:off x="5282867" y="4139834"/>
              <a:ext cx="864774" cy="563117"/>
            </a:xfrm>
            <a:custGeom>
              <a:avLst/>
              <a:gdLst>
                <a:gd name="connsiteX0" fmla="*/ 0 w 864774"/>
                <a:gd name="connsiteY0" fmla="*/ 208979 h 563117"/>
                <a:gd name="connsiteX1" fmla="*/ 0 w 864774"/>
                <a:gd name="connsiteY1" fmla="*/ 563118 h 563117"/>
                <a:gd name="connsiteX2" fmla="*/ 101251 w 864774"/>
                <a:gd name="connsiteY2" fmla="*/ 563118 h 563117"/>
                <a:gd name="connsiteX3" fmla="*/ 158877 w 864774"/>
                <a:gd name="connsiteY3" fmla="*/ 505492 h 563117"/>
                <a:gd name="connsiteX4" fmla="*/ 158877 w 864774"/>
                <a:gd name="connsiteY4" fmla="*/ 415671 h 563117"/>
                <a:gd name="connsiteX5" fmla="*/ 268319 w 864774"/>
                <a:gd name="connsiteY5" fmla="*/ 415671 h 563117"/>
                <a:gd name="connsiteX6" fmla="*/ 325945 w 864774"/>
                <a:gd name="connsiteY6" fmla="*/ 358045 h 563117"/>
                <a:gd name="connsiteX7" fmla="*/ 325945 w 864774"/>
                <a:gd name="connsiteY7" fmla="*/ 321564 h 563117"/>
                <a:gd name="connsiteX8" fmla="*/ 381095 w 864774"/>
                <a:gd name="connsiteY8" fmla="*/ 280511 h 563117"/>
                <a:gd name="connsiteX9" fmla="*/ 864775 w 864774"/>
                <a:gd name="connsiteY9" fmla="*/ 280416 h 563117"/>
                <a:gd name="connsiteX10" fmla="*/ 864775 w 864774"/>
                <a:gd name="connsiteY10" fmla="*/ 278416 h 563117"/>
                <a:gd name="connsiteX11" fmla="*/ 856679 w 864774"/>
                <a:gd name="connsiteY11" fmla="*/ 278416 h 563117"/>
                <a:gd name="connsiteX12" fmla="*/ 799052 w 864774"/>
                <a:gd name="connsiteY12" fmla="*/ 220789 h 563117"/>
                <a:gd name="connsiteX13" fmla="*/ 799052 w 864774"/>
                <a:gd name="connsiteY13" fmla="*/ 1143 h 563117"/>
                <a:gd name="connsiteX14" fmla="*/ 786575 w 864774"/>
                <a:gd name="connsiteY14" fmla="*/ 0 h 563117"/>
                <a:gd name="connsiteX15" fmla="*/ 453580 w 864774"/>
                <a:gd name="connsiteY15" fmla="*/ 0 h 563117"/>
                <a:gd name="connsiteX16" fmla="*/ 404050 w 864774"/>
                <a:gd name="connsiteY16" fmla="*/ 0 h 563117"/>
                <a:gd name="connsiteX17" fmla="*/ 288703 w 864774"/>
                <a:gd name="connsiteY17" fmla="*/ 0 h 563117"/>
                <a:gd name="connsiteX18" fmla="*/ 218884 w 864774"/>
                <a:gd name="connsiteY18" fmla="*/ 64389 h 563117"/>
                <a:gd name="connsiteX19" fmla="*/ 138113 w 864774"/>
                <a:gd name="connsiteY19" fmla="*/ 138874 h 563117"/>
                <a:gd name="connsiteX20" fmla="*/ 69913 w 864774"/>
                <a:gd name="connsiteY20" fmla="*/ 138874 h 563117"/>
                <a:gd name="connsiteX21" fmla="*/ 0 w 864774"/>
                <a:gd name="connsiteY21" fmla="*/ 208979 h 56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4774" h="563117">
                  <a:moveTo>
                    <a:pt x="0" y="208979"/>
                  </a:moveTo>
                  <a:lnTo>
                    <a:pt x="0" y="563118"/>
                  </a:lnTo>
                  <a:lnTo>
                    <a:pt x="101251" y="563118"/>
                  </a:lnTo>
                  <a:cubicBezTo>
                    <a:pt x="132969" y="563118"/>
                    <a:pt x="158877" y="537210"/>
                    <a:pt x="158877" y="505492"/>
                  </a:cubicBezTo>
                  <a:lnTo>
                    <a:pt x="158877" y="415671"/>
                  </a:lnTo>
                  <a:lnTo>
                    <a:pt x="268319" y="415671"/>
                  </a:lnTo>
                  <a:cubicBezTo>
                    <a:pt x="300038" y="415671"/>
                    <a:pt x="325945" y="389763"/>
                    <a:pt x="325945" y="358045"/>
                  </a:cubicBezTo>
                  <a:lnTo>
                    <a:pt x="325945" y="321564"/>
                  </a:lnTo>
                  <a:cubicBezTo>
                    <a:pt x="333089" y="297847"/>
                    <a:pt x="355187" y="280511"/>
                    <a:pt x="381095" y="280511"/>
                  </a:cubicBezTo>
                  <a:cubicBezTo>
                    <a:pt x="546449" y="280511"/>
                    <a:pt x="390430" y="280416"/>
                    <a:pt x="864775" y="280416"/>
                  </a:cubicBezTo>
                  <a:lnTo>
                    <a:pt x="864775" y="278416"/>
                  </a:lnTo>
                  <a:lnTo>
                    <a:pt x="856679" y="278416"/>
                  </a:lnTo>
                  <a:cubicBezTo>
                    <a:pt x="825055" y="278416"/>
                    <a:pt x="799052" y="252508"/>
                    <a:pt x="799052" y="220789"/>
                  </a:cubicBezTo>
                  <a:lnTo>
                    <a:pt x="799052" y="1143"/>
                  </a:lnTo>
                  <a:cubicBezTo>
                    <a:pt x="795052" y="381"/>
                    <a:pt x="790860" y="0"/>
                    <a:pt x="786575" y="0"/>
                  </a:cubicBezTo>
                  <a:lnTo>
                    <a:pt x="453580" y="0"/>
                  </a:lnTo>
                  <a:lnTo>
                    <a:pt x="404050" y="0"/>
                  </a:lnTo>
                  <a:lnTo>
                    <a:pt x="288703" y="0"/>
                  </a:lnTo>
                  <a:cubicBezTo>
                    <a:pt x="252126" y="0"/>
                    <a:pt x="221742" y="28480"/>
                    <a:pt x="218884" y="64389"/>
                  </a:cubicBezTo>
                  <a:cubicBezTo>
                    <a:pt x="215551" y="106585"/>
                    <a:pt x="180499" y="138874"/>
                    <a:pt x="138113" y="138874"/>
                  </a:cubicBezTo>
                  <a:lnTo>
                    <a:pt x="69913" y="138874"/>
                  </a:lnTo>
                  <a:cubicBezTo>
                    <a:pt x="31528" y="138970"/>
                    <a:pt x="0" y="170497"/>
                    <a:pt x="0" y="208979"/>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9" name="Freeform: Shape 198">
              <a:extLst>
                <a:ext uri="{FF2B5EF4-FFF2-40B4-BE49-F238E27FC236}">
                  <a16:creationId xmlns:a16="http://schemas.microsoft.com/office/drawing/2014/main" id="{3AE89A28-1388-4F7E-883A-191A136A889D}"/>
                </a:ext>
              </a:extLst>
            </p:cNvPr>
            <p:cNvSpPr/>
            <p:nvPr/>
          </p:nvSpPr>
          <p:spPr>
            <a:xfrm>
              <a:off x="4017848" y="3391550"/>
              <a:ext cx="1149861" cy="437387"/>
            </a:xfrm>
            <a:custGeom>
              <a:avLst/>
              <a:gdLst>
                <a:gd name="connsiteX0" fmla="*/ 16292 w 1149861"/>
                <a:gd name="connsiteY0" fmla="*/ 437388 h 437387"/>
                <a:gd name="connsiteX1" fmla="*/ 927834 w 1149861"/>
                <a:gd name="connsiteY1" fmla="*/ 437388 h 437387"/>
                <a:gd name="connsiteX2" fmla="*/ 985460 w 1149861"/>
                <a:gd name="connsiteY2" fmla="*/ 379762 h 437387"/>
                <a:gd name="connsiteX3" fmla="*/ 985460 w 1149861"/>
                <a:gd name="connsiteY3" fmla="*/ 216217 h 437387"/>
                <a:gd name="connsiteX4" fmla="*/ 1066423 w 1149861"/>
                <a:gd name="connsiteY4" fmla="*/ 135255 h 437387"/>
                <a:gd name="connsiteX5" fmla="*/ 1092236 w 1149861"/>
                <a:gd name="connsiteY5" fmla="*/ 135255 h 437387"/>
                <a:gd name="connsiteX6" fmla="*/ 1149862 w 1149861"/>
                <a:gd name="connsiteY6" fmla="*/ 77629 h 437387"/>
                <a:gd name="connsiteX7" fmla="*/ 1149862 w 1149861"/>
                <a:gd name="connsiteY7" fmla="*/ 57626 h 437387"/>
                <a:gd name="connsiteX8" fmla="*/ 1092236 w 1149861"/>
                <a:gd name="connsiteY8" fmla="*/ 0 h 437387"/>
                <a:gd name="connsiteX9" fmla="*/ 927834 w 1149861"/>
                <a:gd name="connsiteY9" fmla="*/ 0 h 437387"/>
                <a:gd name="connsiteX10" fmla="*/ 698662 w 1149861"/>
                <a:gd name="connsiteY10" fmla="*/ 0 h 437387"/>
                <a:gd name="connsiteX11" fmla="*/ 641322 w 1149861"/>
                <a:gd name="connsiteY11" fmla="*/ 71056 h 437387"/>
                <a:gd name="connsiteX12" fmla="*/ 571504 w 1149861"/>
                <a:gd name="connsiteY12" fmla="*/ 135446 h 437387"/>
                <a:gd name="connsiteX13" fmla="*/ 456156 w 1149861"/>
                <a:gd name="connsiteY13" fmla="*/ 135446 h 437387"/>
                <a:gd name="connsiteX14" fmla="*/ 406626 w 1149861"/>
                <a:gd name="connsiteY14" fmla="*/ 135446 h 437387"/>
                <a:gd name="connsiteX15" fmla="*/ 165262 w 1149861"/>
                <a:gd name="connsiteY15" fmla="*/ 135446 h 437387"/>
                <a:gd name="connsiteX16" fmla="*/ 165262 w 1149861"/>
                <a:gd name="connsiteY16" fmla="*/ 232696 h 437387"/>
                <a:gd name="connsiteX17" fmla="*/ 107636 w 1149861"/>
                <a:gd name="connsiteY17" fmla="*/ 290322 h 437387"/>
                <a:gd name="connsiteX18" fmla="*/ 72775 w 1149861"/>
                <a:gd name="connsiteY18" fmla="*/ 290322 h 437387"/>
                <a:gd name="connsiteX19" fmla="*/ 99 w 1149861"/>
                <a:gd name="connsiteY19" fmla="*/ 366998 h 437387"/>
                <a:gd name="connsiteX20" fmla="*/ 99 w 1149861"/>
                <a:gd name="connsiteY20" fmla="*/ 435007 h 437387"/>
                <a:gd name="connsiteX21" fmla="*/ 16292 w 1149861"/>
                <a:gd name="connsiteY21" fmla="*/ 437388 h 4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49861" h="437387">
                  <a:moveTo>
                    <a:pt x="16292" y="437388"/>
                  </a:moveTo>
                  <a:lnTo>
                    <a:pt x="927834" y="437388"/>
                  </a:lnTo>
                  <a:cubicBezTo>
                    <a:pt x="959552" y="437388"/>
                    <a:pt x="985460" y="411480"/>
                    <a:pt x="985460" y="379762"/>
                  </a:cubicBezTo>
                  <a:lnTo>
                    <a:pt x="985460" y="216217"/>
                  </a:lnTo>
                  <a:cubicBezTo>
                    <a:pt x="985460" y="171640"/>
                    <a:pt x="1021846" y="135255"/>
                    <a:pt x="1066423" y="135255"/>
                  </a:cubicBezTo>
                  <a:lnTo>
                    <a:pt x="1092236" y="135255"/>
                  </a:lnTo>
                  <a:cubicBezTo>
                    <a:pt x="1123954" y="135255"/>
                    <a:pt x="1149862" y="109347"/>
                    <a:pt x="1149862" y="77629"/>
                  </a:cubicBezTo>
                  <a:lnTo>
                    <a:pt x="1149862" y="57626"/>
                  </a:lnTo>
                  <a:cubicBezTo>
                    <a:pt x="1149862" y="25908"/>
                    <a:pt x="1123954" y="0"/>
                    <a:pt x="1092236" y="0"/>
                  </a:cubicBezTo>
                  <a:lnTo>
                    <a:pt x="927834" y="0"/>
                  </a:lnTo>
                  <a:lnTo>
                    <a:pt x="698662" y="0"/>
                  </a:lnTo>
                  <a:cubicBezTo>
                    <a:pt x="667420" y="9334"/>
                    <a:pt x="644084" y="36957"/>
                    <a:pt x="641322" y="71056"/>
                  </a:cubicBezTo>
                  <a:cubicBezTo>
                    <a:pt x="638465" y="106966"/>
                    <a:pt x="608175" y="135446"/>
                    <a:pt x="571504" y="135446"/>
                  </a:cubicBezTo>
                  <a:lnTo>
                    <a:pt x="456156" y="135446"/>
                  </a:lnTo>
                  <a:lnTo>
                    <a:pt x="406626" y="135446"/>
                  </a:lnTo>
                  <a:lnTo>
                    <a:pt x="165262" y="135446"/>
                  </a:lnTo>
                  <a:lnTo>
                    <a:pt x="165262" y="232696"/>
                  </a:lnTo>
                  <a:cubicBezTo>
                    <a:pt x="165262" y="264414"/>
                    <a:pt x="139354" y="290322"/>
                    <a:pt x="107636" y="290322"/>
                  </a:cubicBezTo>
                  <a:lnTo>
                    <a:pt x="72775" y="290322"/>
                  </a:lnTo>
                  <a:cubicBezTo>
                    <a:pt x="16482" y="290322"/>
                    <a:pt x="-1520" y="345376"/>
                    <a:pt x="99" y="366998"/>
                  </a:cubicBezTo>
                  <a:lnTo>
                    <a:pt x="99" y="435007"/>
                  </a:lnTo>
                  <a:cubicBezTo>
                    <a:pt x="5338" y="436626"/>
                    <a:pt x="10672" y="437388"/>
                    <a:pt x="16292" y="437388"/>
                  </a:cubicBez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0" name="Freeform: Shape 199">
              <a:extLst>
                <a:ext uri="{FF2B5EF4-FFF2-40B4-BE49-F238E27FC236}">
                  <a16:creationId xmlns:a16="http://schemas.microsoft.com/office/drawing/2014/main" id="{F50403AD-6617-4BA1-BC4B-2589D5F0A0BF}"/>
                </a:ext>
              </a:extLst>
            </p:cNvPr>
            <p:cNvSpPr/>
            <p:nvPr/>
          </p:nvSpPr>
          <p:spPr>
            <a:xfrm>
              <a:off x="4975781" y="4445015"/>
              <a:ext cx="307848" cy="259556"/>
            </a:xfrm>
            <a:custGeom>
              <a:avLst/>
              <a:gdLst>
                <a:gd name="connsiteX0" fmla="*/ 115157 w 307848"/>
                <a:gd name="connsiteY0" fmla="*/ 0 h 259556"/>
                <a:gd name="connsiteX1" fmla="*/ 0 w 307848"/>
                <a:gd name="connsiteY1" fmla="*/ 114300 h 259556"/>
                <a:gd name="connsiteX2" fmla="*/ 0 w 307848"/>
                <a:gd name="connsiteY2" fmla="*/ 259556 h 259556"/>
                <a:gd name="connsiteX3" fmla="*/ 115157 w 307848"/>
                <a:gd name="connsiteY3" fmla="*/ 259556 h 259556"/>
                <a:gd name="connsiteX4" fmla="*/ 154305 w 307848"/>
                <a:gd name="connsiteY4" fmla="*/ 259556 h 259556"/>
                <a:gd name="connsiteX5" fmla="*/ 307848 w 307848"/>
                <a:gd name="connsiteY5" fmla="*/ 259556 h 259556"/>
                <a:gd name="connsiteX6" fmla="*/ 307848 w 307848"/>
                <a:gd name="connsiteY6" fmla="*/ 0 h 259556"/>
                <a:gd name="connsiteX7" fmla="*/ 115157 w 307848"/>
                <a:gd name="connsiteY7" fmla="*/ 0 h 25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848" h="259556">
                  <a:moveTo>
                    <a:pt x="115157" y="0"/>
                  </a:moveTo>
                  <a:cubicBezTo>
                    <a:pt x="51816" y="0"/>
                    <a:pt x="0" y="51435"/>
                    <a:pt x="0" y="114300"/>
                  </a:cubicBezTo>
                  <a:lnTo>
                    <a:pt x="0" y="259556"/>
                  </a:lnTo>
                  <a:lnTo>
                    <a:pt x="115157" y="259556"/>
                  </a:lnTo>
                  <a:lnTo>
                    <a:pt x="154305" y="259556"/>
                  </a:lnTo>
                  <a:lnTo>
                    <a:pt x="307848" y="259556"/>
                  </a:lnTo>
                  <a:lnTo>
                    <a:pt x="307848" y="0"/>
                  </a:lnTo>
                  <a:lnTo>
                    <a:pt x="115157"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1" name="Freeform: Shape 200">
              <a:extLst>
                <a:ext uri="{FF2B5EF4-FFF2-40B4-BE49-F238E27FC236}">
                  <a16:creationId xmlns:a16="http://schemas.microsoft.com/office/drawing/2014/main" id="{BA34FA4D-9EFF-4AEB-B417-247C1C1C3D6D}"/>
                </a:ext>
              </a:extLst>
            </p:cNvPr>
            <p:cNvSpPr/>
            <p:nvPr/>
          </p:nvSpPr>
          <p:spPr>
            <a:xfrm>
              <a:off x="4180063" y="3970003"/>
              <a:ext cx="470820" cy="419195"/>
            </a:xfrm>
            <a:custGeom>
              <a:avLst/>
              <a:gdLst>
                <a:gd name="connsiteX0" fmla="*/ 57626 w 470820"/>
                <a:gd name="connsiteY0" fmla="*/ 571 h 419195"/>
                <a:gd name="connsiteX1" fmla="*/ 0 w 470820"/>
                <a:gd name="connsiteY1" fmla="*/ 58198 h 419195"/>
                <a:gd name="connsiteX2" fmla="*/ 0 w 470820"/>
                <a:gd name="connsiteY2" fmla="*/ 78200 h 419195"/>
                <a:gd name="connsiteX3" fmla="*/ 57626 w 470820"/>
                <a:gd name="connsiteY3" fmla="*/ 135827 h 419195"/>
                <a:gd name="connsiteX4" fmla="*/ 72771 w 470820"/>
                <a:gd name="connsiteY4" fmla="*/ 135827 h 419195"/>
                <a:gd name="connsiteX5" fmla="*/ 155353 w 470820"/>
                <a:gd name="connsiteY5" fmla="*/ 205073 h 419195"/>
                <a:gd name="connsiteX6" fmla="*/ 157448 w 470820"/>
                <a:gd name="connsiteY6" fmla="*/ 319945 h 419195"/>
                <a:gd name="connsiteX7" fmla="*/ 158877 w 470820"/>
                <a:gd name="connsiteY7" fmla="*/ 325946 h 419195"/>
                <a:gd name="connsiteX8" fmla="*/ 158877 w 470820"/>
                <a:gd name="connsiteY8" fmla="*/ 347853 h 419195"/>
                <a:gd name="connsiteX9" fmla="*/ 230219 w 470820"/>
                <a:gd name="connsiteY9" fmla="*/ 419195 h 419195"/>
                <a:gd name="connsiteX10" fmla="*/ 293275 w 470820"/>
                <a:gd name="connsiteY10" fmla="*/ 419195 h 419195"/>
                <a:gd name="connsiteX11" fmla="*/ 293275 w 470820"/>
                <a:gd name="connsiteY11" fmla="*/ 418338 h 419195"/>
                <a:gd name="connsiteX12" fmla="*/ 382714 w 470820"/>
                <a:gd name="connsiteY12" fmla="*/ 418338 h 419195"/>
                <a:gd name="connsiteX13" fmla="*/ 470821 w 470820"/>
                <a:gd name="connsiteY13" fmla="*/ 330232 h 419195"/>
                <a:gd name="connsiteX14" fmla="*/ 470821 w 470820"/>
                <a:gd name="connsiteY14" fmla="*/ 0 h 419195"/>
                <a:gd name="connsiteX15" fmla="*/ 57626 w 470820"/>
                <a:gd name="connsiteY15" fmla="*/ 571 h 41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0820" h="419195">
                  <a:moveTo>
                    <a:pt x="57626" y="571"/>
                  </a:moveTo>
                  <a:cubicBezTo>
                    <a:pt x="25908" y="571"/>
                    <a:pt x="0" y="26479"/>
                    <a:pt x="0" y="58198"/>
                  </a:cubicBezTo>
                  <a:lnTo>
                    <a:pt x="0" y="78200"/>
                  </a:lnTo>
                  <a:cubicBezTo>
                    <a:pt x="0" y="109919"/>
                    <a:pt x="25908" y="135827"/>
                    <a:pt x="57626" y="135827"/>
                  </a:cubicBezTo>
                  <a:lnTo>
                    <a:pt x="72771" y="135827"/>
                  </a:lnTo>
                  <a:cubicBezTo>
                    <a:pt x="88011" y="136303"/>
                    <a:pt x="154114" y="133160"/>
                    <a:pt x="155353" y="205073"/>
                  </a:cubicBezTo>
                  <a:lnTo>
                    <a:pt x="157448" y="319945"/>
                  </a:lnTo>
                  <a:cubicBezTo>
                    <a:pt x="158020" y="321850"/>
                    <a:pt x="158496" y="323850"/>
                    <a:pt x="158877" y="325946"/>
                  </a:cubicBezTo>
                  <a:lnTo>
                    <a:pt x="158877" y="347853"/>
                  </a:lnTo>
                  <a:cubicBezTo>
                    <a:pt x="158877" y="387096"/>
                    <a:pt x="190976" y="419195"/>
                    <a:pt x="230219" y="419195"/>
                  </a:cubicBezTo>
                  <a:lnTo>
                    <a:pt x="293275" y="419195"/>
                  </a:lnTo>
                  <a:lnTo>
                    <a:pt x="293275" y="418338"/>
                  </a:lnTo>
                  <a:lnTo>
                    <a:pt x="382714" y="418338"/>
                  </a:lnTo>
                  <a:cubicBezTo>
                    <a:pt x="431197" y="418338"/>
                    <a:pt x="470821" y="378714"/>
                    <a:pt x="470821" y="330232"/>
                  </a:cubicBezTo>
                  <a:lnTo>
                    <a:pt x="470821" y="0"/>
                  </a:lnTo>
                  <a:lnTo>
                    <a:pt x="57626" y="571"/>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2" name="Freeform: Shape 201">
              <a:extLst>
                <a:ext uri="{FF2B5EF4-FFF2-40B4-BE49-F238E27FC236}">
                  <a16:creationId xmlns:a16="http://schemas.microsoft.com/office/drawing/2014/main" id="{53289D53-DB1C-467C-A726-63E1101D03BE}"/>
                </a:ext>
              </a:extLst>
            </p:cNvPr>
            <p:cNvSpPr/>
            <p:nvPr/>
          </p:nvSpPr>
          <p:spPr>
            <a:xfrm>
              <a:off x="5003118" y="3381263"/>
              <a:ext cx="1432559" cy="951547"/>
            </a:xfrm>
            <a:custGeom>
              <a:avLst/>
              <a:gdLst>
                <a:gd name="connsiteX0" fmla="*/ 1331309 w 1432559"/>
                <a:gd name="connsiteY0" fmla="*/ 122872 h 951547"/>
                <a:gd name="connsiteX1" fmla="*/ 1217009 w 1432559"/>
                <a:gd name="connsiteY1" fmla="*/ 8572 h 951547"/>
                <a:gd name="connsiteX2" fmla="*/ 1217009 w 1432559"/>
                <a:gd name="connsiteY2" fmla="*/ 0 h 951547"/>
                <a:gd name="connsiteX3" fmla="*/ 508921 w 1432559"/>
                <a:gd name="connsiteY3" fmla="*/ 0 h 951547"/>
                <a:gd name="connsiteX4" fmla="*/ 459391 w 1432559"/>
                <a:gd name="connsiteY4" fmla="*/ 0 h 951547"/>
                <a:gd name="connsiteX5" fmla="*/ 344043 w 1432559"/>
                <a:gd name="connsiteY5" fmla="*/ 0 h 951547"/>
                <a:gd name="connsiteX6" fmla="*/ 274225 w 1432559"/>
                <a:gd name="connsiteY6" fmla="*/ 64389 h 951547"/>
                <a:gd name="connsiteX7" fmla="*/ 193453 w 1432559"/>
                <a:gd name="connsiteY7" fmla="*/ 138875 h 951547"/>
                <a:gd name="connsiteX8" fmla="*/ 70009 w 1432559"/>
                <a:gd name="connsiteY8" fmla="*/ 138875 h 951547"/>
                <a:gd name="connsiteX9" fmla="*/ 0 w 1432559"/>
                <a:gd name="connsiteY9" fmla="*/ 208883 h 951547"/>
                <a:gd name="connsiteX10" fmla="*/ 0 w 1432559"/>
                <a:gd name="connsiteY10" fmla="*/ 447008 h 951547"/>
                <a:gd name="connsiteX11" fmla="*/ 222980 w 1432559"/>
                <a:gd name="connsiteY11" fmla="*/ 447008 h 951547"/>
                <a:gd name="connsiteX12" fmla="*/ 281749 w 1432559"/>
                <a:gd name="connsiteY12" fmla="*/ 505778 h 951547"/>
                <a:gd name="connsiteX13" fmla="*/ 281749 w 1432559"/>
                <a:gd name="connsiteY13" fmla="*/ 542258 h 951547"/>
                <a:gd name="connsiteX14" fmla="*/ 281749 w 1432559"/>
                <a:gd name="connsiteY14" fmla="*/ 951547 h 951547"/>
                <a:gd name="connsiteX15" fmla="*/ 349853 w 1432559"/>
                <a:gd name="connsiteY15" fmla="*/ 897446 h 951547"/>
                <a:gd name="connsiteX16" fmla="*/ 418052 w 1432559"/>
                <a:gd name="connsiteY16" fmla="*/ 897446 h 951547"/>
                <a:gd name="connsiteX17" fmla="*/ 498824 w 1432559"/>
                <a:gd name="connsiteY17" fmla="*/ 822960 h 951547"/>
                <a:gd name="connsiteX18" fmla="*/ 568643 w 1432559"/>
                <a:gd name="connsiteY18" fmla="*/ 758571 h 951547"/>
                <a:gd name="connsiteX19" fmla="*/ 683990 w 1432559"/>
                <a:gd name="connsiteY19" fmla="*/ 758571 h 951547"/>
                <a:gd name="connsiteX20" fmla="*/ 733520 w 1432559"/>
                <a:gd name="connsiteY20" fmla="*/ 758571 h 951547"/>
                <a:gd name="connsiteX21" fmla="*/ 1066514 w 1432559"/>
                <a:gd name="connsiteY21" fmla="*/ 758571 h 951547"/>
                <a:gd name="connsiteX22" fmla="*/ 1078992 w 1432559"/>
                <a:gd name="connsiteY22" fmla="*/ 759714 h 951547"/>
                <a:gd name="connsiteX23" fmla="*/ 1078992 w 1432559"/>
                <a:gd name="connsiteY23" fmla="*/ 617506 h 951547"/>
                <a:gd name="connsiteX24" fmla="*/ 1136618 w 1432559"/>
                <a:gd name="connsiteY24" fmla="*/ 559880 h 951547"/>
                <a:gd name="connsiteX25" fmla="*/ 1156621 w 1432559"/>
                <a:gd name="connsiteY25" fmla="*/ 559880 h 951547"/>
                <a:gd name="connsiteX26" fmla="*/ 1158335 w 1432559"/>
                <a:gd name="connsiteY26" fmla="*/ 559880 h 951547"/>
                <a:gd name="connsiteX27" fmla="*/ 1209199 w 1432559"/>
                <a:gd name="connsiteY27" fmla="*/ 559880 h 951547"/>
                <a:gd name="connsiteX28" fmla="*/ 1266825 w 1432559"/>
                <a:gd name="connsiteY28" fmla="*/ 502253 h 951547"/>
                <a:gd name="connsiteX29" fmla="*/ 1266825 w 1432559"/>
                <a:gd name="connsiteY29" fmla="*/ 425768 h 951547"/>
                <a:gd name="connsiteX30" fmla="*/ 1349121 w 1432559"/>
                <a:gd name="connsiteY30" fmla="*/ 425768 h 951547"/>
                <a:gd name="connsiteX31" fmla="*/ 1432560 w 1432559"/>
                <a:gd name="connsiteY31" fmla="*/ 342329 h 951547"/>
                <a:gd name="connsiteX32" fmla="*/ 1432560 w 1432559"/>
                <a:gd name="connsiteY32" fmla="*/ 122777 h 951547"/>
                <a:gd name="connsiteX33" fmla="*/ 1331309 w 1432559"/>
                <a:gd name="connsiteY33" fmla="*/ 122777 h 95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32559" h="951547">
                  <a:moveTo>
                    <a:pt x="1331309" y="122872"/>
                  </a:moveTo>
                  <a:cubicBezTo>
                    <a:pt x="1268444" y="122872"/>
                    <a:pt x="1217009" y="71438"/>
                    <a:pt x="1217009" y="8572"/>
                  </a:cubicBezTo>
                  <a:lnTo>
                    <a:pt x="1217009" y="0"/>
                  </a:lnTo>
                  <a:lnTo>
                    <a:pt x="508921" y="0"/>
                  </a:lnTo>
                  <a:lnTo>
                    <a:pt x="459391" y="0"/>
                  </a:lnTo>
                  <a:lnTo>
                    <a:pt x="344043" y="0"/>
                  </a:lnTo>
                  <a:cubicBezTo>
                    <a:pt x="307467" y="0"/>
                    <a:pt x="277082" y="28480"/>
                    <a:pt x="274225" y="64389"/>
                  </a:cubicBezTo>
                  <a:cubicBezTo>
                    <a:pt x="270891" y="106585"/>
                    <a:pt x="235839" y="138875"/>
                    <a:pt x="193453" y="138875"/>
                  </a:cubicBezTo>
                  <a:lnTo>
                    <a:pt x="70009" y="138875"/>
                  </a:lnTo>
                  <a:cubicBezTo>
                    <a:pt x="31528" y="138875"/>
                    <a:pt x="0" y="170497"/>
                    <a:pt x="0" y="208883"/>
                  </a:cubicBezTo>
                  <a:lnTo>
                    <a:pt x="0" y="447008"/>
                  </a:lnTo>
                  <a:lnTo>
                    <a:pt x="222980" y="447008"/>
                  </a:lnTo>
                  <a:cubicBezTo>
                    <a:pt x="255270" y="447008"/>
                    <a:pt x="281749" y="473488"/>
                    <a:pt x="281749" y="505778"/>
                  </a:cubicBezTo>
                  <a:lnTo>
                    <a:pt x="281749" y="542258"/>
                  </a:lnTo>
                  <a:lnTo>
                    <a:pt x="281749" y="951547"/>
                  </a:lnTo>
                  <a:cubicBezTo>
                    <a:pt x="288988" y="920687"/>
                    <a:pt x="316896" y="897446"/>
                    <a:pt x="349853" y="897446"/>
                  </a:cubicBezTo>
                  <a:lnTo>
                    <a:pt x="418052" y="897446"/>
                  </a:lnTo>
                  <a:cubicBezTo>
                    <a:pt x="460343" y="897446"/>
                    <a:pt x="495395" y="865156"/>
                    <a:pt x="498824" y="822960"/>
                  </a:cubicBezTo>
                  <a:cubicBezTo>
                    <a:pt x="501682" y="787051"/>
                    <a:pt x="532066" y="758571"/>
                    <a:pt x="568643" y="758571"/>
                  </a:cubicBezTo>
                  <a:lnTo>
                    <a:pt x="683990" y="758571"/>
                  </a:lnTo>
                  <a:lnTo>
                    <a:pt x="733520" y="758571"/>
                  </a:lnTo>
                  <a:lnTo>
                    <a:pt x="1066514" y="758571"/>
                  </a:lnTo>
                  <a:cubicBezTo>
                    <a:pt x="1070800" y="758571"/>
                    <a:pt x="1074896" y="758952"/>
                    <a:pt x="1078992" y="759714"/>
                  </a:cubicBezTo>
                  <a:lnTo>
                    <a:pt x="1078992" y="617506"/>
                  </a:lnTo>
                  <a:cubicBezTo>
                    <a:pt x="1078992" y="585788"/>
                    <a:pt x="1104900" y="559880"/>
                    <a:pt x="1136618" y="559880"/>
                  </a:cubicBezTo>
                  <a:lnTo>
                    <a:pt x="1156621" y="559880"/>
                  </a:lnTo>
                  <a:cubicBezTo>
                    <a:pt x="1157192" y="559880"/>
                    <a:pt x="1157764" y="559880"/>
                    <a:pt x="1158335" y="559880"/>
                  </a:cubicBezTo>
                  <a:lnTo>
                    <a:pt x="1209199" y="559880"/>
                  </a:lnTo>
                  <a:cubicBezTo>
                    <a:pt x="1240917" y="559880"/>
                    <a:pt x="1266825" y="533972"/>
                    <a:pt x="1266825" y="502253"/>
                  </a:cubicBezTo>
                  <a:lnTo>
                    <a:pt x="1266825" y="425768"/>
                  </a:lnTo>
                  <a:lnTo>
                    <a:pt x="1349121" y="425768"/>
                  </a:lnTo>
                  <a:cubicBezTo>
                    <a:pt x="1395031" y="425768"/>
                    <a:pt x="1432560" y="388239"/>
                    <a:pt x="1432560" y="342329"/>
                  </a:cubicBezTo>
                  <a:lnTo>
                    <a:pt x="1432560" y="122777"/>
                  </a:lnTo>
                  <a:lnTo>
                    <a:pt x="1331309" y="122777"/>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3" name="Freeform: Shape 202">
              <a:extLst>
                <a:ext uri="{FF2B5EF4-FFF2-40B4-BE49-F238E27FC236}">
                  <a16:creationId xmlns:a16="http://schemas.microsoft.com/office/drawing/2014/main" id="{7C5C6DD8-D050-4F38-9E63-4C0199D6DC1D}"/>
                </a:ext>
              </a:extLst>
            </p:cNvPr>
            <p:cNvSpPr/>
            <p:nvPr/>
          </p:nvSpPr>
          <p:spPr>
            <a:xfrm>
              <a:off x="3245469" y="381555"/>
              <a:ext cx="1149858" cy="1834229"/>
            </a:xfrm>
            <a:custGeom>
              <a:avLst/>
              <a:gdLst>
                <a:gd name="connsiteX0" fmla="*/ 935450 w 1149858"/>
                <a:gd name="connsiteY0" fmla="*/ 0 h 1834229"/>
                <a:gd name="connsiteX1" fmla="*/ 644367 w 1149858"/>
                <a:gd name="connsiteY1" fmla="*/ 0 h 1834229"/>
                <a:gd name="connsiteX2" fmla="*/ 436912 w 1149858"/>
                <a:gd name="connsiteY2" fmla="*/ 0 h 1834229"/>
                <a:gd name="connsiteX3" fmla="*/ 340043 w 1149858"/>
                <a:gd name="connsiteY3" fmla="*/ 96869 h 1834229"/>
                <a:gd name="connsiteX4" fmla="*/ 340043 w 1149858"/>
                <a:gd name="connsiteY4" fmla="*/ 393764 h 1834229"/>
                <a:gd name="connsiteX5" fmla="*/ 98774 w 1149858"/>
                <a:gd name="connsiteY5" fmla="*/ 393764 h 1834229"/>
                <a:gd name="connsiteX6" fmla="*/ 1905 w 1149858"/>
                <a:gd name="connsiteY6" fmla="*/ 490633 h 1834229"/>
                <a:gd name="connsiteX7" fmla="*/ 1905 w 1149858"/>
                <a:gd name="connsiteY7" fmla="*/ 659606 h 1834229"/>
                <a:gd name="connsiteX8" fmla="*/ 0 w 1149858"/>
                <a:gd name="connsiteY8" fmla="*/ 659892 h 1834229"/>
                <a:gd name="connsiteX9" fmla="*/ 0 w 1149858"/>
                <a:gd name="connsiteY9" fmla="*/ 916305 h 1834229"/>
                <a:gd name="connsiteX10" fmla="*/ 0 w 1149858"/>
                <a:gd name="connsiteY10" fmla="*/ 998410 h 1834229"/>
                <a:gd name="connsiteX11" fmla="*/ 0 w 1149858"/>
                <a:gd name="connsiteY11" fmla="*/ 1315593 h 1834229"/>
                <a:gd name="connsiteX12" fmla="*/ 78486 w 1149858"/>
                <a:gd name="connsiteY12" fmla="*/ 1398842 h 1834229"/>
                <a:gd name="connsiteX13" fmla="*/ 154686 w 1149858"/>
                <a:gd name="connsiteY13" fmla="*/ 1479709 h 1834229"/>
                <a:gd name="connsiteX14" fmla="*/ 154686 w 1149858"/>
                <a:gd name="connsiteY14" fmla="*/ 1601343 h 1834229"/>
                <a:gd name="connsiteX15" fmla="*/ 234506 w 1149858"/>
                <a:gd name="connsiteY15" fmla="*/ 1684687 h 1834229"/>
                <a:gd name="connsiteX16" fmla="*/ 312039 w 1149858"/>
                <a:gd name="connsiteY16" fmla="*/ 1765649 h 1834229"/>
                <a:gd name="connsiteX17" fmla="*/ 312039 w 1149858"/>
                <a:gd name="connsiteY17" fmla="*/ 1776603 h 1834229"/>
                <a:gd name="connsiteX18" fmla="*/ 369665 w 1149858"/>
                <a:gd name="connsiteY18" fmla="*/ 1834229 h 1834229"/>
                <a:gd name="connsiteX19" fmla="*/ 389668 w 1149858"/>
                <a:gd name="connsiteY19" fmla="*/ 1834229 h 1834229"/>
                <a:gd name="connsiteX20" fmla="*/ 447294 w 1149858"/>
                <a:gd name="connsiteY20" fmla="*/ 1776603 h 1834229"/>
                <a:gd name="connsiteX21" fmla="*/ 447294 w 1149858"/>
                <a:gd name="connsiteY21" fmla="*/ 1765745 h 1834229"/>
                <a:gd name="connsiteX22" fmla="*/ 528257 w 1149858"/>
                <a:gd name="connsiteY22" fmla="*/ 1684782 h 1834229"/>
                <a:gd name="connsiteX23" fmla="*/ 681323 w 1149858"/>
                <a:gd name="connsiteY23" fmla="*/ 1684782 h 1834229"/>
                <a:gd name="connsiteX24" fmla="*/ 764762 w 1149858"/>
                <a:gd name="connsiteY24" fmla="*/ 1601343 h 1834229"/>
                <a:gd name="connsiteX25" fmla="*/ 764762 w 1149858"/>
                <a:gd name="connsiteY25" fmla="*/ 1348835 h 1834229"/>
                <a:gd name="connsiteX26" fmla="*/ 681323 w 1149858"/>
                <a:gd name="connsiteY26" fmla="*/ 1265396 h 1834229"/>
                <a:gd name="connsiteX27" fmla="*/ 602171 w 1149858"/>
                <a:gd name="connsiteY27" fmla="*/ 1186910 h 1834229"/>
                <a:gd name="connsiteX28" fmla="*/ 683133 w 1149858"/>
                <a:gd name="connsiteY28" fmla="*/ 1105948 h 1834229"/>
                <a:gd name="connsiteX29" fmla="*/ 860870 w 1149858"/>
                <a:gd name="connsiteY29" fmla="*/ 1105948 h 1834229"/>
                <a:gd name="connsiteX30" fmla="*/ 918496 w 1149858"/>
                <a:gd name="connsiteY30" fmla="*/ 1048322 h 1834229"/>
                <a:gd name="connsiteX31" fmla="*/ 918496 w 1149858"/>
                <a:gd name="connsiteY31" fmla="*/ 1028319 h 1834229"/>
                <a:gd name="connsiteX32" fmla="*/ 860870 w 1149858"/>
                <a:gd name="connsiteY32" fmla="*/ 970693 h 1834229"/>
                <a:gd name="connsiteX33" fmla="*/ 845725 w 1149858"/>
                <a:gd name="connsiteY33" fmla="*/ 970693 h 1834229"/>
                <a:gd name="connsiteX34" fmla="*/ 764762 w 1149858"/>
                <a:gd name="connsiteY34" fmla="*/ 889730 h 1834229"/>
                <a:gd name="connsiteX35" fmla="*/ 764762 w 1149858"/>
                <a:gd name="connsiteY35" fmla="*/ 759047 h 1834229"/>
                <a:gd name="connsiteX36" fmla="*/ 763905 w 1149858"/>
                <a:gd name="connsiteY36" fmla="*/ 730282 h 1834229"/>
                <a:gd name="connsiteX37" fmla="*/ 798862 w 1149858"/>
                <a:gd name="connsiteY37" fmla="*/ 730282 h 1834229"/>
                <a:gd name="connsiteX38" fmla="*/ 935355 w 1149858"/>
                <a:gd name="connsiteY38" fmla="*/ 640937 h 1834229"/>
                <a:gd name="connsiteX39" fmla="*/ 935355 w 1149858"/>
                <a:gd name="connsiteY39" fmla="*/ 636556 h 1834229"/>
                <a:gd name="connsiteX40" fmla="*/ 935355 w 1149858"/>
                <a:gd name="connsiteY40" fmla="*/ 626555 h 1834229"/>
                <a:gd name="connsiteX41" fmla="*/ 1006221 w 1149858"/>
                <a:gd name="connsiteY41" fmla="*/ 626555 h 1834229"/>
                <a:gd name="connsiteX42" fmla="*/ 1149858 w 1149858"/>
                <a:gd name="connsiteY42" fmla="*/ 490061 h 1834229"/>
                <a:gd name="connsiteX43" fmla="*/ 1149858 w 1149858"/>
                <a:gd name="connsiteY43" fmla="*/ 0 h 1834229"/>
                <a:gd name="connsiteX44" fmla="*/ 935450 w 1149858"/>
                <a:gd name="connsiteY44" fmla="*/ 0 h 183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149858" h="1834229">
                  <a:moveTo>
                    <a:pt x="935450" y="0"/>
                  </a:moveTo>
                  <a:lnTo>
                    <a:pt x="644367" y="0"/>
                  </a:lnTo>
                  <a:lnTo>
                    <a:pt x="436912" y="0"/>
                  </a:lnTo>
                  <a:cubicBezTo>
                    <a:pt x="383477" y="0"/>
                    <a:pt x="340043" y="43339"/>
                    <a:pt x="340043" y="96869"/>
                  </a:cubicBezTo>
                  <a:lnTo>
                    <a:pt x="340043" y="393764"/>
                  </a:lnTo>
                  <a:lnTo>
                    <a:pt x="98774" y="393764"/>
                  </a:lnTo>
                  <a:cubicBezTo>
                    <a:pt x="45339" y="393764"/>
                    <a:pt x="1905" y="437102"/>
                    <a:pt x="1905" y="490633"/>
                  </a:cubicBezTo>
                  <a:lnTo>
                    <a:pt x="1905" y="659606"/>
                  </a:lnTo>
                  <a:lnTo>
                    <a:pt x="0" y="659892"/>
                  </a:lnTo>
                  <a:lnTo>
                    <a:pt x="0" y="916305"/>
                  </a:lnTo>
                  <a:lnTo>
                    <a:pt x="0" y="998410"/>
                  </a:lnTo>
                  <a:lnTo>
                    <a:pt x="0" y="1315593"/>
                  </a:lnTo>
                  <a:cubicBezTo>
                    <a:pt x="0" y="1359789"/>
                    <a:pt x="34862" y="1396270"/>
                    <a:pt x="78486" y="1398842"/>
                  </a:cubicBezTo>
                  <a:cubicBezTo>
                    <a:pt x="121349" y="1401413"/>
                    <a:pt x="154686" y="1436751"/>
                    <a:pt x="154686" y="1479709"/>
                  </a:cubicBezTo>
                  <a:lnTo>
                    <a:pt x="154686" y="1601343"/>
                  </a:lnTo>
                  <a:cubicBezTo>
                    <a:pt x="154686" y="1646015"/>
                    <a:pt x="190310" y="1682782"/>
                    <a:pt x="234506" y="1684687"/>
                  </a:cubicBezTo>
                  <a:cubicBezTo>
                    <a:pt x="277844" y="1686592"/>
                    <a:pt x="312039" y="1722215"/>
                    <a:pt x="312039" y="1765649"/>
                  </a:cubicBezTo>
                  <a:lnTo>
                    <a:pt x="312039" y="1776603"/>
                  </a:lnTo>
                  <a:cubicBezTo>
                    <a:pt x="312039" y="1808321"/>
                    <a:pt x="337947" y="1834229"/>
                    <a:pt x="369665" y="1834229"/>
                  </a:cubicBezTo>
                  <a:lnTo>
                    <a:pt x="389668" y="1834229"/>
                  </a:lnTo>
                  <a:cubicBezTo>
                    <a:pt x="421386" y="1834229"/>
                    <a:pt x="447294" y="1808321"/>
                    <a:pt x="447294" y="1776603"/>
                  </a:cubicBezTo>
                  <a:lnTo>
                    <a:pt x="447294" y="1765745"/>
                  </a:lnTo>
                  <a:cubicBezTo>
                    <a:pt x="447294" y="1721168"/>
                    <a:pt x="483680" y="1684782"/>
                    <a:pt x="528257" y="1684782"/>
                  </a:cubicBezTo>
                  <a:lnTo>
                    <a:pt x="681323" y="1684782"/>
                  </a:lnTo>
                  <a:cubicBezTo>
                    <a:pt x="727234" y="1684782"/>
                    <a:pt x="764762" y="1647254"/>
                    <a:pt x="764762" y="1601343"/>
                  </a:cubicBezTo>
                  <a:lnTo>
                    <a:pt x="764762" y="1348835"/>
                  </a:lnTo>
                  <a:cubicBezTo>
                    <a:pt x="764762" y="1302925"/>
                    <a:pt x="726662" y="1258253"/>
                    <a:pt x="681323" y="1265396"/>
                  </a:cubicBezTo>
                  <a:cubicBezTo>
                    <a:pt x="633508" y="1272921"/>
                    <a:pt x="601028" y="1256348"/>
                    <a:pt x="602171" y="1186910"/>
                  </a:cubicBezTo>
                  <a:cubicBezTo>
                    <a:pt x="602933" y="1142333"/>
                    <a:pt x="638556" y="1105948"/>
                    <a:pt x="683133" y="1105948"/>
                  </a:cubicBezTo>
                  <a:lnTo>
                    <a:pt x="860870" y="1105948"/>
                  </a:lnTo>
                  <a:cubicBezTo>
                    <a:pt x="892588" y="1105948"/>
                    <a:pt x="918496" y="1080040"/>
                    <a:pt x="918496" y="1048322"/>
                  </a:cubicBezTo>
                  <a:lnTo>
                    <a:pt x="918496" y="1028319"/>
                  </a:lnTo>
                  <a:cubicBezTo>
                    <a:pt x="918496" y="996601"/>
                    <a:pt x="892588" y="970693"/>
                    <a:pt x="860870" y="970693"/>
                  </a:cubicBezTo>
                  <a:lnTo>
                    <a:pt x="845725" y="970693"/>
                  </a:lnTo>
                  <a:cubicBezTo>
                    <a:pt x="801148" y="970693"/>
                    <a:pt x="764762" y="934307"/>
                    <a:pt x="764762" y="889730"/>
                  </a:cubicBezTo>
                  <a:lnTo>
                    <a:pt x="764762" y="759047"/>
                  </a:lnTo>
                  <a:cubicBezTo>
                    <a:pt x="764762" y="748951"/>
                    <a:pt x="764381" y="740950"/>
                    <a:pt x="763905" y="730282"/>
                  </a:cubicBezTo>
                  <a:lnTo>
                    <a:pt x="798862" y="730282"/>
                  </a:lnTo>
                  <a:cubicBezTo>
                    <a:pt x="874300" y="730282"/>
                    <a:pt x="935355" y="716375"/>
                    <a:pt x="935355" y="640937"/>
                  </a:cubicBezTo>
                  <a:lnTo>
                    <a:pt x="935355" y="636556"/>
                  </a:lnTo>
                  <a:lnTo>
                    <a:pt x="935355" y="626555"/>
                  </a:lnTo>
                  <a:lnTo>
                    <a:pt x="1006221" y="626555"/>
                  </a:lnTo>
                  <a:cubicBezTo>
                    <a:pt x="1081659" y="626555"/>
                    <a:pt x="1149858" y="565404"/>
                    <a:pt x="1149858" y="490061"/>
                  </a:cubicBezTo>
                  <a:lnTo>
                    <a:pt x="1149858" y="0"/>
                  </a:lnTo>
                  <a:lnTo>
                    <a:pt x="93545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4" name="Freeform: Shape 203">
              <a:extLst>
                <a:ext uri="{FF2B5EF4-FFF2-40B4-BE49-F238E27FC236}">
                  <a16:creationId xmlns:a16="http://schemas.microsoft.com/office/drawing/2014/main" id="{7650D9E6-1C8E-4631-96B8-25B14CA16043}"/>
                </a:ext>
              </a:extLst>
            </p:cNvPr>
            <p:cNvSpPr/>
            <p:nvPr/>
          </p:nvSpPr>
          <p:spPr>
            <a:xfrm>
              <a:off x="4395518" y="260683"/>
              <a:ext cx="1290351" cy="1074229"/>
            </a:xfrm>
            <a:custGeom>
              <a:avLst/>
              <a:gdLst>
                <a:gd name="connsiteX0" fmla="*/ 1290352 w 1290351"/>
                <a:gd name="connsiteY0" fmla="*/ 314516 h 1074229"/>
                <a:gd name="connsiteX1" fmla="*/ 626555 w 1290351"/>
                <a:gd name="connsiteY1" fmla="*/ 314516 h 1074229"/>
                <a:gd name="connsiteX2" fmla="*/ 626555 w 1290351"/>
                <a:gd name="connsiteY2" fmla="*/ 136493 h 1074229"/>
                <a:gd name="connsiteX3" fmla="*/ 490061 w 1290351"/>
                <a:gd name="connsiteY3" fmla="*/ 0 h 1074229"/>
                <a:gd name="connsiteX4" fmla="*/ 407765 w 1290351"/>
                <a:gd name="connsiteY4" fmla="*/ 0 h 1074229"/>
                <a:gd name="connsiteX5" fmla="*/ 407765 w 1290351"/>
                <a:gd name="connsiteY5" fmla="*/ 286 h 1074229"/>
                <a:gd name="connsiteX6" fmla="*/ 248983 w 1290351"/>
                <a:gd name="connsiteY6" fmla="*/ 286 h 1074229"/>
                <a:gd name="connsiteX7" fmla="*/ 248983 w 1290351"/>
                <a:gd name="connsiteY7" fmla="*/ 28861 h 1074229"/>
                <a:gd name="connsiteX8" fmla="*/ 156877 w 1290351"/>
                <a:gd name="connsiteY8" fmla="*/ 120967 h 1074229"/>
                <a:gd name="connsiteX9" fmla="*/ 0 w 1290351"/>
                <a:gd name="connsiteY9" fmla="*/ 120967 h 1074229"/>
                <a:gd name="connsiteX10" fmla="*/ 0 w 1290351"/>
                <a:gd name="connsiteY10" fmla="*/ 595408 h 1074229"/>
                <a:gd name="connsiteX11" fmla="*/ 270986 w 1290351"/>
                <a:gd name="connsiteY11" fmla="*/ 595408 h 1074229"/>
                <a:gd name="connsiteX12" fmla="*/ 270986 w 1290351"/>
                <a:gd name="connsiteY12" fmla="*/ 990791 h 1074229"/>
                <a:gd name="connsiteX13" fmla="*/ 354425 w 1290351"/>
                <a:gd name="connsiteY13" fmla="*/ 1074230 h 1074229"/>
                <a:gd name="connsiteX14" fmla="*/ 954500 w 1290351"/>
                <a:gd name="connsiteY14" fmla="*/ 1074230 h 1074229"/>
                <a:gd name="connsiteX15" fmla="*/ 1034415 w 1290351"/>
                <a:gd name="connsiteY15" fmla="*/ 1074230 h 1074229"/>
                <a:gd name="connsiteX16" fmla="*/ 1034701 w 1290351"/>
                <a:gd name="connsiteY16" fmla="*/ 1004602 h 1074229"/>
                <a:gd name="connsiteX17" fmla="*/ 1113186 w 1290351"/>
                <a:gd name="connsiteY17" fmla="*/ 932974 h 1074229"/>
                <a:gd name="connsiteX18" fmla="*/ 1189386 w 1290351"/>
                <a:gd name="connsiteY18" fmla="*/ 863251 h 1074229"/>
                <a:gd name="connsiteX19" fmla="*/ 1272064 w 1290351"/>
                <a:gd name="connsiteY19" fmla="*/ 791337 h 1074229"/>
                <a:gd name="connsiteX20" fmla="*/ 1287780 w 1290351"/>
                <a:gd name="connsiteY20" fmla="*/ 791337 h 1074229"/>
                <a:gd name="connsiteX21" fmla="*/ 1290352 w 1290351"/>
                <a:gd name="connsiteY21" fmla="*/ 314516 h 107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90351" h="1074229">
                  <a:moveTo>
                    <a:pt x="1290352" y="314516"/>
                  </a:moveTo>
                  <a:lnTo>
                    <a:pt x="626555" y="314516"/>
                  </a:lnTo>
                  <a:lnTo>
                    <a:pt x="626555" y="136493"/>
                  </a:lnTo>
                  <a:cubicBezTo>
                    <a:pt x="626555" y="61055"/>
                    <a:pt x="565404" y="0"/>
                    <a:pt x="490061" y="0"/>
                  </a:cubicBezTo>
                  <a:lnTo>
                    <a:pt x="407765" y="0"/>
                  </a:lnTo>
                  <a:lnTo>
                    <a:pt x="407765" y="286"/>
                  </a:lnTo>
                  <a:lnTo>
                    <a:pt x="248983" y="286"/>
                  </a:lnTo>
                  <a:lnTo>
                    <a:pt x="248983" y="28861"/>
                  </a:lnTo>
                  <a:cubicBezTo>
                    <a:pt x="248983" y="79724"/>
                    <a:pt x="207740" y="120967"/>
                    <a:pt x="156877" y="120967"/>
                  </a:cubicBezTo>
                  <a:lnTo>
                    <a:pt x="0" y="120967"/>
                  </a:lnTo>
                  <a:lnTo>
                    <a:pt x="0" y="595408"/>
                  </a:lnTo>
                  <a:lnTo>
                    <a:pt x="270986" y="595408"/>
                  </a:lnTo>
                  <a:lnTo>
                    <a:pt x="270986" y="990791"/>
                  </a:lnTo>
                  <a:cubicBezTo>
                    <a:pt x="270986" y="1036701"/>
                    <a:pt x="308515" y="1074230"/>
                    <a:pt x="354425" y="1074230"/>
                  </a:cubicBezTo>
                  <a:lnTo>
                    <a:pt x="954500" y="1074230"/>
                  </a:lnTo>
                  <a:lnTo>
                    <a:pt x="1034415" y="1074230"/>
                  </a:lnTo>
                  <a:lnTo>
                    <a:pt x="1034701" y="1004602"/>
                  </a:lnTo>
                  <a:cubicBezTo>
                    <a:pt x="1034891" y="965168"/>
                    <a:pt x="1073087" y="934879"/>
                    <a:pt x="1113186" y="932974"/>
                  </a:cubicBezTo>
                  <a:cubicBezTo>
                    <a:pt x="1152430" y="931069"/>
                    <a:pt x="1183958" y="902113"/>
                    <a:pt x="1189386" y="863251"/>
                  </a:cubicBezTo>
                  <a:cubicBezTo>
                    <a:pt x="1195006" y="822770"/>
                    <a:pt x="1230058" y="791337"/>
                    <a:pt x="1272064" y="791337"/>
                  </a:cubicBezTo>
                  <a:lnTo>
                    <a:pt x="1287780" y="791337"/>
                  </a:lnTo>
                  <a:cubicBezTo>
                    <a:pt x="1287208" y="673227"/>
                    <a:pt x="1290352" y="511397"/>
                    <a:pt x="1290352" y="314516"/>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5" name="Freeform: Shape 204">
              <a:extLst>
                <a:ext uri="{FF2B5EF4-FFF2-40B4-BE49-F238E27FC236}">
                  <a16:creationId xmlns:a16="http://schemas.microsoft.com/office/drawing/2014/main" id="{FBF9121E-EF86-4F7A-9BCB-15FCED4340BD}"/>
                </a:ext>
              </a:extLst>
            </p:cNvPr>
            <p:cNvSpPr/>
            <p:nvPr/>
          </p:nvSpPr>
          <p:spPr>
            <a:xfrm>
              <a:off x="2456609" y="-24876"/>
              <a:ext cx="2346960" cy="1813083"/>
            </a:xfrm>
            <a:custGeom>
              <a:avLst/>
              <a:gdLst>
                <a:gd name="connsiteX0" fmla="*/ 862298 w 2346960"/>
                <a:gd name="connsiteY0" fmla="*/ 0 h 1813083"/>
                <a:gd name="connsiteX1" fmla="*/ 654368 w 2346960"/>
                <a:gd name="connsiteY1" fmla="*/ 207931 h 1813083"/>
                <a:gd name="connsiteX2" fmla="*/ 654368 w 2346960"/>
                <a:gd name="connsiteY2" fmla="*/ 444437 h 1813083"/>
                <a:gd name="connsiteX3" fmla="*/ 513112 w 2346960"/>
                <a:gd name="connsiteY3" fmla="*/ 444437 h 1813083"/>
                <a:gd name="connsiteX4" fmla="*/ 305181 w 2346960"/>
                <a:gd name="connsiteY4" fmla="*/ 652367 h 1813083"/>
                <a:gd name="connsiteX5" fmla="*/ 305181 w 2346960"/>
                <a:gd name="connsiteY5" fmla="*/ 1066514 h 1813083"/>
                <a:gd name="connsiteX6" fmla="*/ 268319 w 2346960"/>
                <a:gd name="connsiteY6" fmla="*/ 1078135 h 1813083"/>
                <a:gd name="connsiteX7" fmla="*/ 235458 w 2346960"/>
                <a:gd name="connsiteY7" fmla="*/ 1090327 h 1813083"/>
                <a:gd name="connsiteX8" fmla="*/ 162497 w 2346960"/>
                <a:gd name="connsiteY8" fmla="*/ 1173099 h 1813083"/>
                <a:gd name="connsiteX9" fmla="*/ 162497 w 2346960"/>
                <a:gd name="connsiteY9" fmla="*/ 1441228 h 1813083"/>
                <a:gd name="connsiteX10" fmla="*/ 81915 w 2346960"/>
                <a:gd name="connsiteY10" fmla="*/ 1522190 h 1813083"/>
                <a:gd name="connsiteX11" fmla="*/ 0 w 2346960"/>
                <a:gd name="connsiteY11" fmla="*/ 1605629 h 1813083"/>
                <a:gd name="connsiteX12" fmla="*/ 0 w 2346960"/>
                <a:gd name="connsiteY12" fmla="*/ 1729645 h 1813083"/>
                <a:gd name="connsiteX13" fmla="*/ 83439 w 2346960"/>
                <a:gd name="connsiteY13" fmla="*/ 1813084 h 1813083"/>
                <a:gd name="connsiteX14" fmla="*/ 364141 w 2346960"/>
                <a:gd name="connsiteY14" fmla="*/ 1813084 h 1813083"/>
                <a:gd name="connsiteX15" fmla="*/ 447484 w 2346960"/>
                <a:gd name="connsiteY15" fmla="*/ 1733264 h 1813083"/>
                <a:gd name="connsiteX16" fmla="*/ 527590 w 2346960"/>
                <a:gd name="connsiteY16" fmla="*/ 1655731 h 1813083"/>
                <a:gd name="connsiteX17" fmla="*/ 609600 w 2346960"/>
                <a:gd name="connsiteY17" fmla="*/ 1581817 h 1813083"/>
                <a:gd name="connsiteX18" fmla="*/ 687896 w 2346960"/>
                <a:gd name="connsiteY18" fmla="*/ 1508951 h 1813083"/>
                <a:gd name="connsiteX19" fmla="*/ 708184 w 2346960"/>
                <a:gd name="connsiteY19" fmla="*/ 1508951 h 1813083"/>
                <a:gd name="connsiteX20" fmla="*/ 789146 w 2346960"/>
                <a:gd name="connsiteY20" fmla="*/ 1589913 h 1813083"/>
                <a:gd name="connsiteX21" fmla="*/ 789146 w 2346960"/>
                <a:gd name="connsiteY21" fmla="*/ 1404557 h 1813083"/>
                <a:gd name="connsiteX22" fmla="*/ 789146 w 2346960"/>
                <a:gd name="connsiteY22" fmla="*/ 1322451 h 1813083"/>
                <a:gd name="connsiteX23" fmla="*/ 789146 w 2346960"/>
                <a:gd name="connsiteY23" fmla="*/ 1066038 h 1813083"/>
                <a:gd name="connsiteX24" fmla="*/ 787908 w 2346960"/>
                <a:gd name="connsiteY24" fmla="*/ 1066038 h 1813083"/>
                <a:gd name="connsiteX25" fmla="*/ 787908 w 2346960"/>
                <a:gd name="connsiteY25" fmla="*/ 876300 h 1813083"/>
                <a:gd name="connsiteX26" fmla="*/ 793337 w 2346960"/>
                <a:gd name="connsiteY26" fmla="*/ 876300 h 1813083"/>
                <a:gd name="connsiteX27" fmla="*/ 887921 w 2346960"/>
                <a:gd name="connsiteY27" fmla="*/ 800100 h 1813083"/>
                <a:gd name="connsiteX28" fmla="*/ 1129189 w 2346960"/>
                <a:gd name="connsiteY28" fmla="*/ 800100 h 1813083"/>
                <a:gd name="connsiteX29" fmla="*/ 1129189 w 2346960"/>
                <a:gd name="connsiteY29" fmla="*/ 503301 h 1813083"/>
                <a:gd name="connsiteX30" fmla="*/ 1226058 w 2346960"/>
                <a:gd name="connsiteY30" fmla="*/ 406432 h 1813083"/>
                <a:gd name="connsiteX31" fmla="*/ 1433513 w 2346960"/>
                <a:gd name="connsiteY31" fmla="*/ 406432 h 1813083"/>
                <a:gd name="connsiteX32" fmla="*/ 1724597 w 2346960"/>
                <a:gd name="connsiteY32" fmla="*/ 406432 h 1813083"/>
                <a:gd name="connsiteX33" fmla="*/ 2096072 w 2346960"/>
                <a:gd name="connsiteY33" fmla="*/ 406432 h 1813083"/>
                <a:gd name="connsiteX34" fmla="*/ 2188178 w 2346960"/>
                <a:gd name="connsiteY34" fmla="*/ 314325 h 1813083"/>
                <a:gd name="connsiteX35" fmla="*/ 2188178 w 2346960"/>
                <a:gd name="connsiteY35" fmla="*/ 285750 h 1813083"/>
                <a:gd name="connsiteX36" fmla="*/ 2346960 w 2346960"/>
                <a:gd name="connsiteY36" fmla="*/ 285750 h 1813083"/>
                <a:gd name="connsiteX37" fmla="*/ 2346960 w 2346960"/>
                <a:gd name="connsiteY37" fmla="*/ 0 h 1813083"/>
                <a:gd name="connsiteX38" fmla="*/ 862298 w 2346960"/>
                <a:gd name="connsiteY38" fmla="*/ 0 h 181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46960" h="1813083">
                  <a:moveTo>
                    <a:pt x="862298" y="0"/>
                  </a:moveTo>
                  <a:cubicBezTo>
                    <a:pt x="747427" y="0"/>
                    <a:pt x="654368" y="93155"/>
                    <a:pt x="654368" y="207931"/>
                  </a:cubicBezTo>
                  <a:lnTo>
                    <a:pt x="654368" y="444437"/>
                  </a:lnTo>
                  <a:lnTo>
                    <a:pt x="513112" y="444437"/>
                  </a:lnTo>
                  <a:cubicBezTo>
                    <a:pt x="398240" y="444437"/>
                    <a:pt x="305181" y="537591"/>
                    <a:pt x="305181" y="652367"/>
                  </a:cubicBezTo>
                  <a:lnTo>
                    <a:pt x="305181" y="1066514"/>
                  </a:lnTo>
                  <a:cubicBezTo>
                    <a:pt x="291846" y="1067562"/>
                    <a:pt x="279273" y="1071563"/>
                    <a:pt x="268319" y="1078135"/>
                  </a:cubicBezTo>
                  <a:cubicBezTo>
                    <a:pt x="258223" y="1084231"/>
                    <a:pt x="247174" y="1088803"/>
                    <a:pt x="235458" y="1090327"/>
                  </a:cubicBezTo>
                  <a:cubicBezTo>
                    <a:pt x="194405" y="1095470"/>
                    <a:pt x="162497" y="1130713"/>
                    <a:pt x="162497" y="1173099"/>
                  </a:cubicBezTo>
                  <a:lnTo>
                    <a:pt x="162497" y="1441228"/>
                  </a:lnTo>
                  <a:cubicBezTo>
                    <a:pt x="162497" y="1485519"/>
                    <a:pt x="126206" y="1521428"/>
                    <a:pt x="81915" y="1522190"/>
                  </a:cubicBezTo>
                  <a:cubicBezTo>
                    <a:pt x="36671" y="1522952"/>
                    <a:pt x="0" y="1560195"/>
                    <a:pt x="0" y="1605629"/>
                  </a:cubicBezTo>
                  <a:lnTo>
                    <a:pt x="0" y="1729645"/>
                  </a:lnTo>
                  <a:cubicBezTo>
                    <a:pt x="0" y="1775555"/>
                    <a:pt x="37529" y="1813084"/>
                    <a:pt x="83439" y="1813084"/>
                  </a:cubicBezTo>
                  <a:lnTo>
                    <a:pt x="364141" y="1813084"/>
                  </a:lnTo>
                  <a:cubicBezTo>
                    <a:pt x="408813" y="1813084"/>
                    <a:pt x="445580" y="1777460"/>
                    <a:pt x="447484" y="1733264"/>
                  </a:cubicBezTo>
                  <a:cubicBezTo>
                    <a:pt x="449390" y="1690211"/>
                    <a:pt x="484442" y="1656207"/>
                    <a:pt x="527590" y="1655731"/>
                  </a:cubicBezTo>
                  <a:cubicBezTo>
                    <a:pt x="569881" y="1655255"/>
                    <a:pt x="604838" y="1622965"/>
                    <a:pt x="609600" y="1581817"/>
                  </a:cubicBezTo>
                  <a:cubicBezTo>
                    <a:pt x="614267" y="1540859"/>
                    <a:pt x="646748" y="1508951"/>
                    <a:pt x="687896" y="1508951"/>
                  </a:cubicBezTo>
                  <a:lnTo>
                    <a:pt x="708184" y="1508951"/>
                  </a:lnTo>
                  <a:cubicBezTo>
                    <a:pt x="752761" y="1508951"/>
                    <a:pt x="789146" y="1545336"/>
                    <a:pt x="789146" y="1589913"/>
                  </a:cubicBezTo>
                  <a:lnTo>
                    <a:pt x="789146" y="1404557"/>
                  </a:lnTo>
                  <a:lnTo>
                    <a:pt x="789146" y="1322451"/>
                  </a:lnTo>
                  <a:lnTo>
                    <a:pt x="789146" y="1066038"/>
                  </a:lnTo>
                  <a:lnTo>
                    <a:pt x="787908" y="1066038"/>
                  </a:lnTo>
                  <a:lnTo>
                    <a:pt x="787908" y="876300"/>
                  </a:lnTo>
                  <a:lnTo>
                    <a:pt x="793337" y="876300"/>
                  </a:lnTo>
                  <a:cubicBezTo>
                    <a:pt x="802767" y="832771"/>
                    <a:pt x="841534" y="800100"/>
                    <a:pt x="887921" y="800100"/>
                  </a:cubicBezTo>
                  <a:lnTo>
                    <a:pt x="1129189" y="800100"/>
                  </a:lnTo>
                  <a:lnTo>
                    <a:pt x="1129189" y="503301"/>
                  </a:lnTo>
                  <a:cubicBezTo>
                    <a:pt x="1129189" y="449866"/>
                    <a:pt x="1172527" y="406432"/>
                    <a:pt x="1226058" y="406432"/>
                  </a:cubicBezTo>
                  <a:lnTo>
                    <a:pt x="1433513" y="406432"/>
                  </a:lnTo>
                  <a:lnTo>
                    <a:pt x="1724597" y="406432"/>
                  </a:lnTo>
                  <a:lnTo>
                    <a:pt x="2096072" y="406432"/>
                  </a:lnTo>
                  <a:cubicBezTo>
                    <a:pt x="2146935" y="406432"/>
                    <a:pt x="2188178" y="365189"/>
                    <a:pt x="2188178" y="314325"/>
                  </a:cubicBezTo>
                  <a:lnTo>
                    <a:pt x="2188178" y="285750"/>
                  </a:lnTo>
                  <a:lnTo>
                    <a:pt x="2346960" y="285750"/>
                  </a:lnTo>
                  <a:lnTo>
                    <a:pt x="2346960" y="0"/>
                  </a:lnTo>
                  <a:lnTo>
                    <a:pt x="862298"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6" name="Freeform: Shape 205">
              <a:extLst>
                <a:ext uri="{FF2B5EF4-FFF2-40B4-BE49-F238E27FC236}">
                  <a16:creationId xmlns:a16="http://schemas.microsoft.com/office/drawing/2014/main" id="{7997A310-2F48-4B8C-BA5A-FDFE924A1D01}"/>
                </a:ext>
              </a:extLst>
            </p:cNvPr>
            <p:cNvSpPr/>
            <p:nvPr/>
          </p:nvSpPr>
          <p:spPr>
            <a:xfrm>
              <a:off x="4963684" y="2644504"/>
              <a:ext cx="1471421" cy="875728"/>
            </a:xfrm>
            <a:custGeom>
              <a:avLst/>
              <a:gdLst>
                <a:gd name="connsiteX0" fmla="*/ 157829 w 1471421"/>
                <a:gd name="connsiteY0" fmla="*/ 0 h 875728"/>
                <a:gd name="connsiteX1" fmla="*/ 157829 w 1471421"/>
                <a:gd name="connsiteY1" fmla="*/ 53245 h 875728"/>
                <a:gd name="connsiteX2" fmla="*/ 157829 w 1471421"/>
                <a:gd name="connsiteY2" fmla="*/ 105632 h 875728"/>
                <a:gd name="connsiteX3" fmla="*/ 200406 w 1471421"/>
                <a:gd name="connsiteY3" fmla="*/ 163354 h 875728"/>
                <a:gd name="connsiteX4" fmla="*/ 218313 w 1471421"/>
                <a:gd name="connsiteY4" fmla="*/ 166116 h 875728"/>
                <a:gd name="connsiteX5" fmla="*/ 312515 w 1471421"/>
                <a:gd name="connsiteY5" fmla="*/ 166116 h 875728"/>
                <a:gd name="connsiteX6" fmla="*/ 314134 w 1471421"/>
                <a:gd name="connsiteY6" fmla="*/ 166116 h 875728"/>
                <a:gd name="connsiteX7" fmla="*/ 314801 w 1471421"/>
                <a:gd name="connsiteY7" fmla="*/ 442722 h 875728"/>
                <a:gd name="connsiteX8" fmla="*/ 314801 w 1471421"/>
                <a:gd name="connsiteY8" fmla="*/ 444913 h 875728"/>
                <a:gd name="connsiteX9" fmla="*/ 314801 w 1471421"/>
                <a:gd name="connsiteY9" fmla="*/ 444913 h 875728"/>
                <a:gd name="connsiteX10" fmla="*/ 232982 w 1471421"/>
                <a:gd name="connsiteY10" fmla="*/ 444913 h 875728"/>
                <a:gd name="connsiteX11" fmla="*/ 162020 w 1471421"/>
                <a:gd name="connsiteY11" fmla="*/ 498538 h 875728"/>
                <a:gd name="connsiteX12" fmla="*/ 160401 w 1471421"/>
                <a:gd name="connsiteY12" fmla="*/ 512540 h 875728"/>
                <a:gd name="connsiteX13" fmla="*/ 160211 w 1471421"/>
                <a:gd name="connsiteY13" fmla="*/ 543497 h 875728"/>
                <a:gd name="connsiteX14" fmla="*/ 99726 w 1471421"/>
                <a:gd name="connsiteY14" fmla="*/ 603980 h 875728"/>
                <a:gd name="connsiteX15" fmla="*/ 381 w 1471421"/>
                <a:gd name="connsiteY15" fmla="*/ 603980 h 875728"/>
                <a:gd name="connsiteX16" fmla="*/ 381 w 1471421"/>
                <a:gd name="connsiteY16" fmla="*/ 743712 h 875728"/>
                <a:gd name="connsiteX17" fmla="*/ 0 w 1471421"/>
                <a:gd name="connsiteY17" fmla="*/ 743712 h 875728"/>
                <a:gd name="connsiteX18" fmla="*/ 0 w 1471421"/>
                <a:gd name="connsiteY18" fmla="*/ 747141 h 875728"/>
                <a:gd name="connsiteX19" fmla="*/ 146114 w 1471421"/>
                <a:gd name="connsiteY19" fmla="*/ 747141 h 875728"/>
                <a:gd name="connsiteX20" fmla="*/ 203740 w 1471421"/>
                <a:gd name="connsiteY20" fmla="*/ 804767 h 875728"/>
                <a:gd name="connsiteX21" fmla="*/ 203740 w 1471421"/>
                <a:gd name="connsiteY21" fmla="*/ 824770 h 875728"/>
                <a:gd name="connsiteX22" fmla="*/ 172879 w 1471421"/>
                <a:gd name="connsiteY22" fmla="*/ 875729 h 875728"/>
                <a:gd name="connsiteX23" fmla="*/ 232600 w 1471421"/>
                <a:gd name="connsiteY23" fmla="*/ 875729 h 875728"/>
                <a:gd name="connsiteX24" fmla="*/ 313373 w 1471421"/>
                <a:gd name="connsiteY24" fmla="*/ 801243 h 875728"/>
                <a:gd name="connsiteX25" fmla="*/ 383191 w 1471421"/>
                <a:gd name="connsiteY25" fmla="*/ 736854 h 875728"/>
                <a:gd name="connsiteX26" fmla="*/ 498539 w 1471421"/>
                <a:gd name="connsiteY26" fmla="*/ 736854 h 875728"/>
                <a:gd name="connsiteX27" fmla="*/ 548068 w 1471421"/>
                <a:gd name="connsiteY27" fmla="*/ 736854 h 875728"/>
                <a:gd name="connsiteX28" fmla="*/ 1256157 w 1471421"/>
                <a:gd name="connsiteY28" fmla="*/ 736854 h 875728"/>
                <a:gd name="connsiteX29" fmla="*/ 1256157 w 1471421"/>
                <a:gd name="connsiteY29" fmla="*/ 745427 h 875728"/>
                <a:gd name="connsiteX30" fmla="*/ 1370457 w 1471421"/>
                <a:gd name="connsiteY30" fmla="*/ 859727 h 875728"/>
                <a:gd name="connsiteX31" fmla="*/ 1471422 w 1471421"/>
                <a:gd name="connsiteY31" fmla="*/ 859727 h 875728"/>
                <a:gd name="connsiteX32" fmla="*/ 1471422 w 1471421"/>
                <a:gd name="connsiteY32" fmla="*/ 843439 h 875728"/>
                <a:gd name="connsiteX33" fmla="*/ 1471422 w 1471421"/>
                <a:gd name="connsiteY33" fmla="*/ 390620 h 875728"/>
                <a:gd name="connsiteX34" fmla="*/ 1471422 w 1471421"/>
                <a:gd name="connsiteY34" fmla="*/ 191 h 875728"/>
                <a:gd name="connsiteX35" fmla="*/ 157829 w 1471421"/>
                <a:gd name="connsiteY35" fmla="*/ 191 h 875728"/>
                <a:gd name="connsiteX36" fmla="*/ 1255395 w 1471421"/>
                <a:gd name="connsiteY36" fmla="*/ 736663 h 875728"/>
                <a:gd name="connsiteX37" fmla="*/ 947452 w 1471421"/>
                <a:gd name="connsiteY37" fmla="*/ 736663 h 875728"/>
                <a:gd name="connsiteX38" fmla="*/ 947452 w 1471421"/>
                <a:gd name="connsiteY38" fmla="*/ 496157 h 875728"/>
                <a:gd name="connsiteX39" fmla="*/ 1062609 w 1471421"/>
                <a:gd name="connsiteY39" fmla="*/ 381857 h 875728"/>
                <a:gd name="connsiteX40" fmla="*/ 1255395 w 1471421"/>
                <a:gd name="connsiteY40" fmla="*/ 381857 h 875728"/>
                <a:gd name="connsiteX41" fmla="*/ 1255395 w 1471421"/>
                <a:gd name="connsiteY41" fmla="*/ 736663 h 87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71421" h="875728">
                  <a:moveTo>
                    <a:pt x="157829" y="0"/>
                  </a:moveTo>
                  <a:lnTo>
                    <a:pt x="157829" y="53245"/>
                  </a:lnTo>
                  <a:lnTo>
                    <a:pt x="157829" y="105632"/>
                  </a:lnTo>
                  <a:cubicBezTo>
                    <a:pt x="157829" y="132683"/>
                    <a:pt x="175832" y="155638"/>
                    <a:pt x="200406" y="163354"/>
                  </a:cubicBezTo>
                  <a:cubicBezTo>
                    <a:pt x="206121" y="165163"/>
                    <a:pt x="212122" y="166116"/>
                    <a:pt x="218313" y="166116"/>
                  </a:cubicBezTo>
                  <a:lnTo>
                    <a:pt x="312515" y="166116"/>
                  </a:lnTo>
                  <a:lnTo>
                    <a:pt x="314134" y="166116"/>
                  </a:lnTo>
                  <a:lnTo>
                    <a:pt x="314801" y="442722"/>
                  </a:lnTo>
                  <a:lnTo>
                    <a:pt x="314801" y="444913"/>
                  </a:lnTo>
                  <a:lnTo>
                    <a:pt x="314801" y="444913"/>
                  </a:lnTo>
                  <a:lnTo>
                    <a:pt x="232982" y="444913"/>
                  </a:lnTo>
                  <a:cubicBezTo>
                    <a:pt x="199263" y="444913"/>
                    <a:pt x="169164" y="467201"/>
                    <a:pt x="162020" y="498538"/>
                  </a:cubicBezTo>
                  <a:cubicBezTo>
                    <a:pt x="160973" y="503015"/>
                    <a:pt x="160496" y="507683"/>
                    <a:pt x="160401" y="512540"/>
                  </a:cubicBezTo>
                  <a:lnTo>
                    <a:pt x="160211" y="543497"/>
                  </a:lnTo>
                  <a:cubicBezTo>
                    <a:pt x="160020" y="576739"/>
                    <a:pt x="132969" y="603980"/>
                    <a:pt x="99726" y="603980"/>
                  </a:cubicBezTo>
                  <a:lnTo>
                    <a:pt x="381" y="603980"/>
                  </a:lnTo>
                  <a:lnTo>
                    <a:pt x="381" y="743712"/>
                  </a:lnTo>
                  <a:lnTo>
                    <a:pt x="0" y="743712"/>
                  </a:lnTo>
                  <a:lnTo>
                    <a:pt x="0" y="747141"/>
                  </a:lnTo>
                  <a:lnTo>
                    <a:pt x="146114" y="747141"/>
                  </a:lnTo>
                  <a:cubicBezTo>
                    <a:pt x="177832" y="747141"/>
                    <a:pt x="203740" y="773049"/>
                    <a:pt x="203740" y="804767"/>
                  </a:cubicBezTo>
                  <a:lnTo>
                    <a:pt x="203740" y="824770"/>
                  </a:lnTo>
                  <a:cubicBezTo>
                    <a:pt x="203740" y="846773"/>
                    <a:pt x="191167" y="866013"/>
                    <a:pt x="172879" y="875729"/>
                  </a:cubicBezTo>
                  <a:lnTo>
                    <a:pt x="232600" y="875729"/>
                  </a:lnTo>
                  <a:cubicBezTo>
                    <a:pt x="274891" y="875729"/>
                    <a:pt x="309943" y="843439"/>
                    <a:pt x="313373" y="801243"/>
                  </a:cubicBezTo>
                  <a:cubicBezTo>
                    <a:pt x="316230" y="765334"/>
                    <a:pt x="346615" y="736854"/>
                    <a:pt x="383191" y="736854"/>
                  </a:cubicBezTo>
                  <a:lnTo>
                    <a:pt x="498539" y="736854"/>
                  </a:lnTo>
                  <a:lnTo>
                    <a:pt x="548068" y="736854"/>
                  </a:lnTo>
                  <a:lnTo>
                    <a:pt x="1256157" y="736854"/>
                  </a:lnTo>
                  <a:lnTo>
                    <a:pt x="1256157" y="745427"/>
                  </a:lnTo>
                  <a:cubicBezTo>
                    <a:pt x="1256157" y="808292"/>
                    <a:pt x="1307592" y="859727"/>
                    <a:pt x="1370457" y="859727"/>
                  </a:cubicBezTo>
                  <a:lnTo>
                    <a:pt x="1471422" y="859727"/>
                  </a:lnTo>
                  <a:lnTo>
                    <a:pt x="1471422" y="843439"/>
                  </a:lnTo>
                  <a:lnTo>
                    <a:pt x="1471422" y="390620"/>
                  </a:lnTo>
                  <a:lnTo>
                    <a:pt x="1471422" y="191"/>
                  </a:lnTo>
                  <a:lnTo>
                    <a:pt x="157829" y="191"/>
                  </a:lnTo>
                  <a:close/>
                  <a:moveTo>
                    <a:pt x="1255395" y="736663"/>
                  </a:moveTo>
                  <a:lnTo>
                    <a:pt x="947452" y="736663"/>
                  </a:lnTo>
                  <a:lnTo>
                    <a:pt x="947452" y="496157"/>
                  </a:lnTo>
                  <a:cubicBezTo>
                    <a:pt x="947452" y="433292"/>
                    <a:pt x="999268" y="381857"/>
                    <a:pt x="1062609" y="381857"/>
                  </a:cubicBezTo>
                  <a:lnTo>
                    <a:pt x="1255395" y="381857"/>
                  </a:lnTo>
                  <a:lnTo>
                    <a:pt x="1255395" y="736663"/>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7" name="Freeform: Shape 206">
              <a:extLst>
                <a:ext uri="{FF2B5EF4-FFF2-40B4-BE49-F238E27FC236}">
                  <a16:creationId xmlns:a16="http://schemas.microsoft.com/office/drawing/2014/main" id="{9D6DE197-1962-4681-BB29-003127D8E663}"/>
                </a:ext>
              </a:extLst>
            </p:cNvPr>
            <p:cNvSpPr/>
            <p:nvPr/>
          </p:nvSpPr>
          <p:spPr>
            <a:xfrm>
              <a:off x="5911136" y="3026362"/>
              <a:ext cx="307943" cy="354806"/>
            </a:xfrm>
            <a:custGeom>
              <a:avLst/>
              <a:gdLst>
                <a:gd name="connsiteX0" fmla="*/ 115158 w 307943"/>
                <a:gd name="connsiteY0" fmla="*/ 0 h 354806"/>
                <a:gd name="connsiteX1" fmla="*/ 0 w 307943"/>
                <a:gd name="connsiteY1" fmla="*/ 114300 h 354806"/>
                <a:gd name="connsiteX2" fmla="*/ 0 w 307943"/>
                <a:gd name="connsiteY2" fmla="*/ 354806 h 354806"/>
                <a:gd name="connsiteX3" fmla="*/ 307943 w 307943"/>
                <a:gd name="connsiteY3" fmla="*/ 354806 h 354806"/>
                <a:gd name="connsiteX4" fmla="*/ 307943 w 307943"/>
                <a:gd name="connsiteY4" fmla="*/ 0 h 354806"/>
                <a:gd name="connsiteX5" fmla="*/ 115158 w 307943"/>
                <a:gd name="connsiteY5" fmla="*/ 0 h 35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943" h="354806">
                  <a:moveTo>
                    <a:pt x="115158" y="0"/>
                  </a:moveTo>
                  <a:cubicBezTo>
                    <a:pt x="51816" y="0"/>
                    <a:pt x="0" y="51435"/>
                    <a:pt x="0" y="114300"/>
                  </a:cubicBezTo>
                  <a:lnTo>
                    <a:pt x="0" y="354806"/>
                  </a:lnTo>
                  <a:lnTo>
                    <a:pt x="307943" y="354806"/>
                  </a:lnTo>
                  <a:lnTo>
                    <a:pt x="307943" y="0"/>
                  </a:lnTo>
                  <a:lnTo>
                    <a:pt x="115158"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8" name="Freeform: Shape 207">
              <a:extLst>
                <a:ext uri="{FF2B5EF4-FFF2-40B4-BE49-F238E27FC236}">
                  <a16:creationId xmlns:a16="http://schemas.microsoft.com/office/drawing/2014/main" id="{7FD5173B-D8BE-43D7-B44F-51ED959ED84A}"/>
                </a:ext>
              </a:extLst>
            </p:cNvPr>
            <p:cNvSpPr/>
            <p:nvPr/>
          </p:nvSpPr>
          <p:spPr>
            <a:xfrm>
              <a:off x="4803283" y="-24876"/>
              <a:ext cx="1632204" cy="2667095"/>
            </a:xfrm>
            <a:custGeom>
              <a:avLst/>
              <a:gdLst>
                <a:gd name="connsiteX0" fmla="*/ 1496949 w 1632204"/>
                <a:gd name="connsiteY0" fmla="*/ 1233678 h 2667095"/>
                <a:gd name="connsiteX1" fmla="*/ 1436942 w 1632204"/>
                <a:gd name="connsiteY1" fmla="*/ 1173671 h 2667095"/>
                <a:gd name="connsiteX2" fmla="*/ 1436942 w 1632204"/>
                <a:gd name="connsiteY2" fmla="*/ 1152811 h 2667095"/>
                <a:gd name="connsiteX3" fmla="*/ 1496949 w 1632204"/>
                <a:gd name="connsiteY3" fmla="*/ 1092803 h 2667095"/>
                <a:gd name="connsiteX4" fmla="*/ 1629346 w 1632204"/>
                <a:gd name="connsiteY4" fmla="*/ 1092803 h 2667095"/>
                <a:gd name="connsiteX5" fmla="*/ 1629823 w 1632204"/>
                <a:gd name="connsiteY5" fmla="*/ 596932 h 2667095"/>
                <a:gd name="connsiteX6" fmla="*/ 1264444 w 1632204"/>
                <a:gd name="connsiteY6" fmla="*/ 596932 h 2667095"/>
                <a:gd name="connsiteX7" fmla="*/ 1264444 w 1632204"/>
                <a:gd name="connsiteY7" fmla="*/ 96869 h 2667095"/>
                <a:gd name="connsiteX8" fmla="*/ 1167574 w 1632204"/>
                <a:gd name="connsiteY8" fmla="*/ 0 h 2667095"/>
                <a:gd name="connsiteX9" fmla="*/ 0 w 1632204"/>
                <a:gd name="connsiteY9" fmla="*/ 0 h 2667095"/>
                <a:gd name="connsiteX10" fmla="*/ 0 w 1632204"/>
                <a:gd name="connsiteY10" fmla="*/ 285464 h 2667095"/>
                <a:gd name="connsiteX11" fmla="*/ 82296 w 1632204"/>
                <a:gd name="connsiteY11" fmla="*/ 285464 h 2667095"/>
                <a:gd name="connsiteX12" fmla="*/ 218789 w 1632204"/>
                <a:gd name="connsiteY12" fmla="*/ 421958 h 2667095"/>
                <a:gd name="connsiteX13" fmla="*/ 218789 w 1632204"/>
                <a:gd name="connsiteY13" fmla="*/ 599980 h 2667095"/>
                <a:gd name="connsiteX14" fmla="*/ 882587 w 1632204"/>
                <a:gd name="connsiteY14" fmla="*/ 599980 h 2667095"/>
                <a:gd name="connsiteX15" fmla="*/ 879919 w 1632204"/>
                <a:gd name="connsiteY15" fmla="*/ 1064324 h 2667095"/>
                <a:gd name="connsiteX16" fmla="*/ 879919 w 1632204"/>
                <a:gd name="connsiteY16" fmla="*/ 1076516 h 2667095"/>
                <a:gd name="connsiteX17" fmla="*/ 872966 w 1632204"/>
                <a:gd name="connsiteY17" fmla="*/ 1076516 h 2667095"/>
                <a:gd name="connsiteX18" fmla="*/ 864203 w 1632204"/>
                <a:gd name="connsiteY18" fmla="*/ 1076516 h 2667095"/>
                <a:gd name="connsiteX19" fmla="*/ 856011 w 1632204"/>
                <a:gd name="connsiteY19" fmla="*/ 1076897 h 2667095"/>
                <a:gd name="connsiteX20" fmla="*/ 853440 w 1632204"/>
                <a:gd name="connsiteY20" fmla="*/ 1077278 h 2667095"/>
                <a:gd name="connsiteX21" fmla="*/ 848106 w 1632204"/>
                <a:gd name="connsiteY21" fmla="*/ 1078135 h 2667095"/>
                <a:gd name="connsiteX22" fmla="*/ 847439 w 1632204"/>
                <a:gd name="connsiteY22" fmla="*/ 1078325 h 2667095"/>
                <a:gd name="connsiteX23" fmla="*/ 845153 w 1632204"/>
                <a:gd name="connsiteY23" fmla="*/ 1078897 h 2667095"/>
                <a:gd name="connsiteX24" fmla="*/ 840486 w 1632204"/>
                <a:gd name="connsiteY24" fmla="*/ 1080135 h 2667095"/>
                <a:gd name="connsiteX25" fmla="*/ 837438 w 1632204"/>
                <a:gd name="connsiteY25" fmla="*/ 1081183 h 2667095"/>
                <a:gd name="connsiteX26" fmla="*/ 833056 w 1632204"/>
                <a:gd name="connsiteY26" fmla="*/ 1082802 h 2667095"/>
                <a:gd name="connsiteX27" fmla="*/ 830104 w 1632204"/>
                <a:gd name="connsiteY27" fmla="*/ 1084136 h 2667095"/>
                <a:gd name="connsiteX28" fmla="*/ 826008 w 1632204"/>
                <a:gd name="connsiteY28" fmla="*/ 1086136 h 2667095"/>
                <a:gd name="connsiteX29" fmla="*/ 824484 w 1632204"/>
                <a:gd name="connsiteY29" fmla="*/ 1086993 h 2667095"/>
                <a:gd name="connsiteX30" fmla="*/ 823055 w 1632204"/>
                <a:gd name="connsiteY30" fmla="*/ 1087755 h 2667095"/>
                <a:gd name="connsiteX31" fmla="*/ 819150 w 1632204"/>
                <a:gd name="connsiteY31" fmla="*/ 1090136 h 2667095"/>
                <a:gd name="connsiteX32" fmla="*/ 818674 w 1632204"/>
                <a:gd name="connsiteY32" fmla="*/ 1090422 h 2667095"/>
                <a:gd name="connsiteX33" fmla="*/ 816483 w 1632204"/>
                <a:gd name="connsiteY33" fmla="*/ 1091946 h 2667095"/>
                <a:gd name="connsiteX34" fmla="*/ 812768 w 1632204"/>
                <a:gd name="connsiteY34" fmla="*/ 1094708 h 2667095"/>
                <a:gd name="connsiteX35" fmla="*/ 810292 w 1632204"/>
                <a:gd name="connsiteY35" fmla="*/ 1096709 h 2667095"/>
                <a:gd name="connsiteX36" fmla="*/ 806767 w 1632204"/>
                <a:gd name="connsiteY36" fmla="*/ 1099852 h 2667095"/>
                <a:gd name="connsiteX37" fmla="*/ 804577 w 1632204"/>
                <a:gd name="connsiteY37" fmla="*/ 1101947 h 2667095"/>
                <a:gd name="connsiteX38" fmla="*/ 801148 w 1632204"/>
                <a:gd name="connsiteY38" fmla="*/ 1105662 h 2667095"/>
                <a:gd name="connsiteX39" fmla="*/ 799434 w 1632204"/>
                <a:gd name="connsiteY39" fmla="*/ 1107662 h 2667095"/>
                <a:gd name="connsiteX40" fmla="*/ 795909 w 1632204"/>
                <a:gd name="connsiteY40" fmla="*/ 1112330 h 2667095"/>
                <a:gd name="connsiteX41" fmla="*/ 795814 w 1632204"/>
                <a:gd name="connsiteY41" fmla="*/ 1112520 h 2667095"/>
                <a:gd name="connsiteX42" fmla="*/ 794861 w 1632204"/>
                <a:gd name="connsiteY42" fmla="*/ 1113854 h 2667095"/>
                <a:gd name="connsiteX43" fmla="*/ 790765 w 1632204"/>
                <a:gd name="connsiteY43" fmla="*/ 1120521 h 2667095"/>
                <a:gd name="connsiteX44" fmla="*/ 790480 w 1632204"/>
                <a:gd name="connsiteY44" fmla="*/ 1121093 h 2667095"/>
                <a:gd name="connsiteX45" fmla="*/ 787337 w 1632204"/>
                <a:gd name="connsiteY45" fmla="*/ 1127570 h 2667095"/>
                <a:gd name="connsiteX46" fmla="*/ 786479 w 1632204"/>
                <a:gd name="connsiteY46" fmla="*/ 1129951 h 2667095"/>
                <a:gd name="connsiteX47" fmla="*/ 784669 w 1632204"/>
                <a:gd name="connsiteY47" fmla="*/ 1134904 h 2667095"/>
                <a:gd name="connsiteX48" fmla="*/ 783908 w 1632204"/>
                <a:gd name="connsiteY48" fmla="*/ 1137666 h 2667095"/>
                <a:gd name="connsiteX49" fmla="*/ 783908 w 1632204"/>
                <a:gd name="connsiteY49" fmla="*/ 1137857 h 2667095"/>
                <a:gd name="connsiteX50" fmla="*/ 782669 w 1632204"/>
                <a:gd name="connsiteY50" fmla="*/ 1142524 h 2667095"/>
                <a:gd name="connsiteX51" fmla="*/ 782574 w 1632204"/>
                <a:gd name="connsiteY51" fmla="*/ 1143000 h 2667095"/>
                <a:gd name="connsiteX52" fmla="*/ 782098 w 1632204"/>
                <a:gd name="connsiteY52" fmla="*/ 1145762 h 2667095"/>
                <a:gd name="connsiteX53" fmla="*/ 780764 w 1632204"/>
                <a:gd name="connsiteY53" fmla="*/ 1160336 h 2667095"/>
                <a:gd name="connsiteX54" fmla="*/ 709517 w 1632204"/>
                <a:gd name="connsiteY54" fmla="*/ 1218438 h 2667095"/>
                <a:gd name="connsiteX55" fmla="*/ 702850 w 1632204"/>
                <a:gd name="connsiteY55" fmla="*/ 1218819 h 2667095"/>
                <a:gd name="connsiteX56" fmla="*/ 700754 w 1632204"/>
                <a:gd name="connsiteY56" fmla="*/ 1219010 h 2667095"/>
                <a:gd name="connsiteX57" fmla="*/ 699802 w 1632204"/>
                <a:gd name="connsiteY57" fmla="*/ 1219105 h 2667095"/>
                <a:gd name="connsiteX58" fmla="*/ 693801 w 1632204"/>
                <a:gd name="connsiteY58" fmla="*/ 1220057 h 2667095"/>
                <a:gd name="connsiteX59" fmla="*/ 692563 w 1632204"/>
                <a:gd name="connsiteY59" fmla="*/ 1220248 h 2667095"/>
                <a:gd name="connsiteX60" fmla="*/ 627031 w 1632204"/>
                <a:gd name="connsiteY60" fmla="*/ 1290923 h 2667095"/>
                <a:gd name="connsiteX61" fmla="*/ 626745 w 1632204"/>
                <a:gd name="connsiteY61" fmla="*/ 1359884 h 2667095"/>
                <a:gd name="connsiteX62" fmla="*/ 626174 w 1632204"/>
                <a:gd name="connsiteY62" fmla="*/ 1359884 h 2667095"/>
                <a:gd name="connsiteX63" fmla="*/ 626174 w 1632204"/>
                <a:gd name="connsiteY63" fmla="*/ 1359884 h 2667095"/>
                <a:gd name="connsiteX64" fmla="*/ 887349 w 1632204"/>
                <a:gd name="connsiteY64" fmla="*/ 1359884 h 2667095"/>
                <a:gd name="connsiteX65" fmla="*/ 957358 w 1632204"/>
                <a:gd name="connsiteY65" fmla="*/ 1429893 h 2667095"/>
                <a:gd name="connsiteX66" fmla="*/ 957358 w 1632204"/>
                <a:gd name="connsiteY66" fmla="*/ 1454277 h 2667095"/>
                <a:gd name="connsiteX67" fmla="*/ 887349 w 1632204"/>
                <a:gd name="connsiteY67" fmla="*/ 1524286 h 2667095"/>
                <a:gd name="connsiteX68" fmla="*/ 626174 w 1632204"/>
                <a:gd name="connsiteY68" fmla="*/ 1524286 h 2667095"/>
                <a:gd name="connsiteX69" fmla="*/ 626174 w 1632204"/>
                <a:gd name="connsiteY69" fmla="*/ 1814417 h 2667095"/>
                <a:gd name="connsiteX70" fmla="*/ 626174 w 1632204"/>
                <a:gd name="connsiteY70" fmla="*/ 1959959 h 2667095"/>
                <a:gd name="connsiteX71" fmla="*/ 1134046 w 1632204"/>
                <a:gd name="connsiteY71" fmla="*/ 1959959 h 2667095"/>
                <a:gd name="connsiteX72" fmla="*/ 1249204 w 1632204"/>
                <a:gd name="connsiteY72" fmla="*/ 2074259 h 2667095"/>
                <a:gd name="connsiteX73" fmla="*/ 1249204 w 1632204"/>
                <a:gd name="connsiteY73" fmla="*/ 2667095 h 2667095"/>
                <a:gd name="connsiteX74" fmla="*/ 1632204 w 1632204"/>
                <a:gd name="connsiteY74" fmla="*/ 2667095 h 2667095"/>
                <a:gd name="connsiteX75" fmla="*/ 1632204 w 1632204"/>
                <a:gd name="connsiteY75" fmla="*/ 1233678 h 2667095"/>
                <a:gd name="connsiteX76" fmla="*/ 1496949 w 1632204"/>
                <a:gd name="connsiteY76" fmla="*/ 1233678 h 2667095"/>
                <a:gd name="connsiteX77" fmla="*/ 1277398 w 1632204"/>
                <a:gd name="connsiteY77" fmla="*/ 1311974 h 2667095"/>
                <a:gd name="connsiteX78" fmla="*/ 1217390 w 1632204"/>
                <a:gd name="connsiteY78" fmla="*/ 1371981 h 2667095"/>
                <a:gd name="connsiteX79" fmla="*/ 1196530 w 1632204"/>
                <a:gd name="connsiteY79" fmla="*/ 1371981 h 2667095"/>
                <a:gd name="connsiteX80" fmla="*/ 1136523 w 1632204"/>
                <a:gd name="connsiteY80" fmla="*/ 1313117 h 2667095"/>
                <a:gd name="connsiteX81" fmla="*/ 1055560 w 1632204"/>
                <a:gd name="connsiteY81" fmla="*/ 1233583 h 2667095"/>
                <a:gd name="connsiteX82" fmla="*/ 1016222 w 1632204"/>
                <a:gd name="connsiteY82" fmla="*/ 1233583 h 2667095"/>
                <a:gd name="connsiteX83" fmla="*/ 956215 w 1632204"/>
                <a:gd name="connsiteY83" fmla="*/ 1173575 h 2667095"/>
                <a:gd name="connsiteX84" fmla="*/ 956215 w 1632204"/>
                <a:gd name="connsiteY84" fmla="*/ 1152716 h 2667095"/>
                <a:gd name="connsiteX85" fmla="*/ 1016222 w 1632204"/>
                <a:gd name="connsiteY85" fmla="*/ 1092708 h 2667095"/>
                <a:gd name="connsiteX86" fmla="*/ 1181005 w 1632204"/>
                <a:gd name="connsiteY86" fmla="*/ 1092708 h 2667095"/>
                <a:gd name="connsiteX87" fmla="*/ 1189959 w 1632204"/>
                <a:gd name="connsiteY87" fmla="*/ 1092232 h 2667095"/>
                <a:gd name="connsiteX88" fmla="*/ 1196530 w 1632204"/>
                <a:gd name="connsiteY88" fmla="*/ 1091851 h 2667095"/>
                <a:gd name="connsiteX89" fmla="*/ 1217390 w 1632204"/>
                <a:gd name="connsiteY89" fmla="*/ 1091851 h 2667095"/>
                <a:gd name="connsiteX90" fmla="*/ 1277398 w 1632204"/>
                <a:gd name="connsiteY90" fmla="*/ 1151858 h 2667095"/>
                <a:gd name="connsiteX91" fmla="*/ 1277398 w 1632204"/>
                <a:gd name="connsiteY91" fmla="*/ 1311974 h 266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632204" h="2667095">
                  <a:moveTo>
                    <a:pt x="1496949" y="1233678"/>
                  </a:moveTo>
                  <a:cubicBezTo>
                    <a:pt x="1463992" y="1233678"/>
                    <a:pt x="1436942" y="1206627"/>
                    <a:pt x="1436942" y="1173671"/>
                  </a:cubicBezTo>
                  <a:lnTo>
                    <a:pt x="1436942" y="1152811"/>
                  </a:lnTo>
                  <a:cubicBezTo>
                    <a:pt x="1436942" y="1119854"/>
                    <a:pt x="1463897" y="1092803"/>
                    <a:pt x="1496949" y="1092803"/>
                  </a:cubicBezTo>
                  <a:lnTo>
                    <a:pt x="1629346" y="1092803"/>
                  </a:lnTo>
                  <a:lnTo>
                    <a:pt x="1629823" y="596932"/>
                  </a:lnTo>
                  <a:lnTo>
                    <a:pt x="1264444" y="596932"/>
                  </a:lnTo>
                  <a:lnTo>
                    <a:pt x="1264444" y="96869"/>
                  </a:lnTo>
                  <a:cubicBezTo>
                    <a:pt x="1264444" y="43434"/>
                    <a:pt x="1221105" y="0"/>
                    <a:pt x="1167574" y="0"/>
                  </a:cubicBezTo>
                  <a:lnTo>
                    <a:pt x="0" y="0"/>
                  </a:lnTo>
                  <a:lnTo>
                    <a:pt x="0" y="285464"/>
                  </a:lnTo>
                  <a:lnTo>
                    <a:pt x="82296" y="285464"/>
                  </a:lnTo>
                  <a:cubicBezTo>
                    <a:pt x="157734" y="285464"/>
                    <a:pt x="218789" y="346615"/>
                    <a:pt x="218789" y="421958"/>
                  </a:cubicBezTo>
                  <a:lnTo>
                    <a:pt x="218789" y="599980"/>
                  </a:lnTo>
                  <a:lnTo>
                    <a:pt x="882587" y="599980"/>
                  </a:lnTo>
                  <a:cubicBezTo>
                    <a:pt x="882587" y="790861"/>
                    <a:pt x="879634" y="920306"/>
                    <a:pt x="879919" y="1064324"/>
                  </a:cubicBezTo>
                  <a:cubicBezTo>
                    <a:pt x="880967" y="1072229"/>
                    <a:pt x="881062" y="1076516"/>
                    <a:pt x="879919" y="1076516"/>
                  </a:cubicBezTo>
                  <a:lnTo>
                    <a:pt x="872966" y="1076516"/>
                  </a:lnTo>
                  <a:cubicBezTo>
                    <a:pt x="869537" y="1076611"/>
                    <a:pt x="866489" y="1076516"/>
                    <a:pt x="864203" y="1076516"/>
                  </a:cubicBezTo>
                  <a:cubicBezTo>
                    <a:pt x="861441" y="1076516"/>
                    <a:pt x="858679" y="1076706"/>
                    <a:pt x="856011" y="1076897"/>
                  </a:cubicBezTo>
                  <a:cubicBezTo>
                    <a:pt x="855155" y="1076992"/>
                    <a:pt x="854297" y="1077182"/>
                    <a:pt x="853440" y="1077278"/>
                  </a:cubicBezTo>
                  <a:cubicBezTo>
                    <a:pt x="851630" y="1077468"/>
                    <a:pt x="849821" y="1077754"/>
                    <a:pt x="848106" y="1078135"/>
                  </a:cubicBezTo>
                  <a:cubicBezTo>
                    <a:pt x="847915" y="1078135"/>
                    <a:pt x="847630" y="1078230"/>
                    <a:pt x="847439" y="1078325"/>
                  </a:cubicBezTo>
                  <a:cubicBezTo>
                    <a:pt x="846677" y="1078516"/>
                    <a:pt x="845915" y="1078706"/>
                    <a:pt x="845153" y="1078897"/>
                  </a:cubicBezTo>
                  <a:cubicBezTo>
                    <a:pt x="843534" y="1079278"/>
                    <a:pt x="842010" y="1079659"/>
                    <a:pt x="840486" y="1080135"/>
                  </a:cubicBezTo>
                  <a:cubicBezTo>
                    <a:pt x="839438" y="1080421"/>
                    <a:pt x="838486" y="1080802"/>
                    <a:pt x="837438" y="1081183"/>
                  </a:cubicBezTo>
                  <a:cubicBezTo>
                    <a:pt x="836009" y="1081659"/>
                    <a:pt x="834485" y="1082231"/>
                    <a:pt x="833056" y="1082802"/>
                  </a:cubicBezTo>
                  <a:cubicBezTo>
                    <a:pt x="832009" y="1083183"/>
                    <a:pt x="831056" y="1083659"/>
                    <a:pt x="830104" y="1084136"/>
                  </a:cubicBezTo>
                  <a:cubicBezTo>
                    <a:pt x="828675" y="1084802"/>
                    <a:pt x="827342" y="1085374"/>
                    <a:pt x="826008" y="1086136"/>
                  </a:cubicBezTo>
                  <a:cubicBezTo>
                    <a:pt x="825532" y="1086422"/>
                    <a:pt x="825055" y="1086707"/>
                    <a:pt x="824484" y="1086993"/>
                  </a:cubicBezTo>
                  <a:cubicBezTo>
                    <a:pt x="824008" y="1087279"/>
                    <a:pt x="823531" y="1087469"/>
                    <a:pt x="823055" y="1087755"/>
                  </a:cubicBezTo>
                  <a:cubicBezTo>
                    <a:pt x="821722" y="1088517"/>
                    <a:pt x="820483" y="1089279"/>
                    <a:pt x="819150" y="1090136"/>
                  </a:cubicBezTo>
                  <a:cubicBezTo>
                    <a:pt x="818960" y="1090232"/>
                    <a:pt x="818864" y="1090327"/>
                    <a:pt x="818674" y="1090422"/>
                  </a:cubicBezTo>
                  <a:cubicBezTo>
                    <a:pt x="817911" y="1090898"/>
                    <a:pt x="817150" y="1091375"/>
                    <a:pt x="816483" y="1091946"/>
                  </a:cubicBezTo>
                  <a:cubicBezTo>
                    <a:pt x="815245" y="1092803"/>
                    <a:pt x="814006" y="1093756"/>
                    <a:pt x="812768" y="1094708"/>
                  </a:cubicBezTo>
                  <a:cubicBezTo>
                    <a:pt x="811911" y="1095375"/>
                    <a:pt x="811149" y="1095947"/>
                    <a:pt x="810292" y="1096709"/>
                  </a:cubicBezTo>
                  <a:cubicBezTo>
                    <a:pt x="809053" y="1097756"/>
                    <a:pt x="807910" y="1098804"/>
                    <a:pt x="806767" y="1099852"/>
                  </a:cubicBezTo>
                  <a:cubicBezTo>
                    <a:pt x="806005" y="1100519"/>
                    <a:pt x="805339" y="1101185"/>
                    <a:pt x="804577" y="1101947"/>
                  </a:cubicBezTo>
                  <a:cubicBezTo>
                    <a:pt x="803434" y="1103186"/>
                    <a:pt x="802291" y="1104424"/>
                    <a:pt x="801148" y="1105662"/>
                  </a:cubicBezTo>
                  <a:cubicBezTo>
                    <a:pt x="800576" y="1106329"/>
                    <a:pt x="799910" y="1106996"/>
                    <a:pt x="799434" y="1107662"/>
                  </a:cubicBezTo>
                  <a:cubicBezTo>
                    <a:pt x="798195" y="1109186"/>
                    <a:pt x="797052" y="1110710"/>
                    <a:pt x="795909" y="1112330"/>
                  </a:cubicBezTo>
                  <a:cubicBezTo>
                    <a:pt x="795909" y="1112425"/>
                    <a:pt x="795814" y="1112425"/>
                    <a:pt x="795814" y="1112520"/>
                  </a:cubicBezTo>
                  <a:cubicBezTo>
                    <a:pt x="795528" y="1112996"/>
                    <a:pt x="795147" y="1113377"/>
                    <a:pt x="794861" y="1113854"/>
                  </a:cubicBezTo>
                  <a:cubicBezTo>
                    <a:pt x="793433" y="1116044"/>
                    <a:pt x="792004" y="1118235"/>
                    <a:pt x="790765" y="1120521"/>
                  </a:cubicBezTo>
                  <a:cubicBezTo>
                    <a:pt x="790670" y="1120712"/>
                    <a:pt x="790575" y="1120902"/>
                    <a:pt x="790480" y="1121093"/>
                  </a:cubicBezTo>
                  <a:cubicBezTo>
                    <a:pt x="789336" y="1123188"/>
                    <a:pt x="788289" y="1125379"/>
                    <a:pt x="787337" y="1127570"/>
                  </a:cubicBezTo>
                  <a:cubicBezTo>
                    <a:pt x="787051" y="1128332"/>
                    <a:pt x="786765" y="1129094"/>
                    <a:pt x="786479" y="1129951"/>
                  </a:cubicBezTo>
                  <a:cubicBezTo>
                    <a:pt x="785812" y="1131570"/>
                    <a:pt x="785146" y="1133285"/>
                    <a:pt x="784669" y="1134904"/>
                  </a:cubicBezTo>
                  <a:cubicBezTo>
                    <a:pt x="784384" y="1135856"/>
                    <a:pt x="784098" y="1136714"/>
                    <a:pt x="783908" y="1137666"/>
                  </a:cubicBezTo>
                  <a:cubicBezTo>
                    <a:pt x="783908" y="1137761"/>
                    <a:pt x="783908" y="1137761"/>
                    <a:pt x="783908" y="1137857"/>
                  </a:cubicBezTo>
                  <a:cubicBezTo>
                    <a:pt x="783431" y="1139381"/>
                    <a:pt x="783050" y="1141000"/>
                    <a:pt x="782669" y="1142524"/>
                  </a:cubicBezTo>
                  <a:cubicBezTo>
                    <a:pt x="782669" y="1142714"/>
                    <a:pt x="782574" y="1142905"/>
                    <a:pt x="782574" y="1143000"/>
                  </a:cubicBezTo>
                  <a:cubicBezTo>
                    <a:pt x="782383" y="1143953"/>
                    <a:pt x="782193" y="1144810"/>
                    <a:pt x="782098" y="1145762"/>
                  </a:cubicBezTo>
                  <a:cubicBezTo>
                    <a:pt x="781240" y="1150525"/>
                    <a:pt x="780764" y="1155287"/>
                    <a:pt x="780764" y="1160336"/>
                  </a:cubicBezTo>
                  <a:cubicBezTo>
                    <a:pt x="780288" y="1185863"/>
                    <a:pt x="744760" y="1217771"/>
                    <a:pt x="709517" y="1218438"/>
                  </a:cubicBezTo>
                  <a:cubicBezTo>
                    <a:pt x="707231" y="1218438"/>
                    <a:pt x="705040" y="1218628"/>
                    <a:pt x="702850" y="1218819"/>
                  </a:cubicBezTo>
                  <a:cubicBezTo>
                    <a:pt x="702183" y="1218914"/>
                    <a:pt x="701421" y="1218914"/>
                    <a:pt x="700754" y="1219010"/>
                  </a:cubicBezTo>
                  <a:cubicBezTo>
                    <a:pt x="700469" y="1219010"/>
                    <a:pt x="700087" y="1219105"/>
                    <a:pt x="699802" y="1219105"/>
                  </a:cubicBezTo>
                  <a:cubicBezTo>
                    <a:pt x="697801" y="1219391"/>
                    <a:pt x="695801" y="1219676"/>
                    <a:pt x="693801" y="1220057"/>
                  </a:cubicBezTo>
                  <a:cubicBezTo>
                    <a:pt x="693420" y="1220153"/>
                    <a:pt x="692943" y="1220248"/>
                    <a:pt x="692563" y="1220248"/>
                  </a:cubicBezTo>
                  <a:cubicBezTo>
                    <a:pt x="658273" y="1227487"/>
                    <a:pt x="631698" y="1255871"/>
                    <a:pt x="627031" y="1290923"/>
                  </a:cubicBezTo>
                  <a:lnTo>
                    <a:pt x="626745" y="1359884"/>
                  </a:lnTo>
                  <a:lnTo>
                    <a:pt x="626174" y="1359884"/>
                  </a:lnTo>
                  <a:lnTo>
                    <a:pt x="626174" y="1359884"/>
                  </a:lnTo>
                  <a:lnTo>
                    <a:pt x="887349" y="1359884"/>
                  </a:lnTo>
                  <a:cubicBezTo>
                    <a:pt x="925830" y="1359884"/>
                    <a:pt x="957358" y="1391412"/>
                    <a:pt x="957358" y="1429893"/>
                  </a:cubicBezTo>
                  <a:lnTo>
                    <a:pt x="957358" y="1454277"/>
                  </a:lnTo>
                  <a:cubicBezTo>
                    <a:pt x="957358" y="1492758"/>
                    <a:pt x="925830" y="1524286"/>
                    <a:pt x="887349" y="1524286"/>
                  </a:cubicBezTo>
                  <a:lnTo>
                    <a:pt x="626174" y="1524286"/>
                  </a:lnTo>
                  <a:lnTo>
                    <a:pt x="626174" y="1814417"/>
                  </a:lnTo>
                  <a:lnTo>
                    <a:pt x="626174" y="1959959"/>
                  </a:lnTo>
                  <a:lnTo>
                    <a:pt x="1134046" y="1959959"/>
                  </a:lnTo>
                  <a:cubicBezTo>
                    <a:pt x="1197388" y="1959959"/>
                    <a:pt x="1249204" y="2011394"/>
                    <a:pt x="1249204" y="2074259"/>
                  </a:cubicBezTo>
                  <a:lnTo>
                    <a:pt x="1249204" y="2667095"/>
                  </a:lnTo>
                  <a:lnTo>
                    <a:pt x="1632204" y="2667095"/>
                  </a:lnTo>
                  <a:lnTo>
                    <a:pt x="1632204" y="1233678"/>
                  </a:lnTo>
                  <a:lnTo>
                    <a:pt x="1496949" y="1233678"/>
                  </a:lnTo>
                  <a:close/>
                  <a:moveTo>
                    <a:pt x="1277398" y="1311974"/>
                  </a:moveTo>
                  <a:cubicBezTo>
                    <a:pt x="1277398" y="1344930"/>
                    <a:pt x="1250442" y="1371981"/>
                    <a:pt x="1217390" y="1371981"/>
                  </a:cubicBezTo>
                  <a:lnTo>
                    <a:pt x="1196530" y="1371981"/>
                  </a:lnTo>
                  <a:cubicBezTo>
                    <a:pt x="1163955" y="1371981"/>
                    <a:pt x="1137190" y="1345597"/>
                    <a:pt x="1136523" y="1313117"/>
                  </a:cubicBezTo>
                  <a:cubicBezTo>
                    <a:pt x="1135666" y="1269016"/>
                    <a:pt x="1099661" y="1233583"/>
                    <a:pt x="1055560" y="1233583"/>
                  </a:cubicBezTo>
                  <a:lnTo>
                    <a:pt x="1016222" y="1233583"/>
                  </a:lnTo>
                  <a:cubicBezTo>
                    <a:pt x="983266" y="1233583"/>
                    <a:pt x="956215" y="1206627"/>
                    <a:pt x="956215" y="1173575"/>
                  </a:cubicBezTo>
                  <a:lnTo>
                    <a:pt x="956215" y="1152716"/>
                  </a:lnTo>
                  <a:cubicBezTo>
                    <a:pt x="956215" y="1119759"/>
                    <a:pt x="983171" y="1092708"/>
                    <a:pt x="1016222" y="1092708"/>
                  </a:cubicBezTo>
                  <a:lnTo>
                    <a:pt x="1181005" y="1092708"/>
                  </a:lnTo>
                  <a:cubicBezTo>
                    <a:pt x="1184148" y="1092708"/>
                    <a:pt x="1186815" y="1092518"/>
                    <a:pt x="1189959" y="1092232"/>
                  </a:cubicBezTo>
                  <a:cubicBezTo>
                    <a:pt x="1192149" y="1091946"/>
                    <a:pt x="1194340" y="1091851"/>
                    <a:pt x="1196530" y="1091851"/>
                  </a:cubicBezTo>
                  <a:lnTo>
                    <a:pt x="1217390" y="1091851"/>
                  </a:lnTo>
                  <a:cubicBezTo>
                    <a:pt x="1250347" y="1091851"/>
                    <a:pt x="1277398" y="1118807"/>
                    <a:pt x="1277398" y="1151858"/>
                  </a:cubicBezTo>
                  <a:lnTo>
                    <a:pt x="1277398" y="1311974"/>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9" name="Freeform: Shape 208">
              <a:extLst>
                <a:ext uri="{FF2B5EF4-FFF2-40B4-BE49-F238E27FC236}">
                  <a16:creationId xmlns:a16="http://schemas.microsoft.com/office/drawing/2014/main" id="{E1168188-5084-486D-BD85-EBD8287FA20A}"/>
                </a:ext>
              </a:extLst>
            </p:cNvPr>
            <p:cNvSpPr/>
            <p:nvPr/>
          </p:nvSpPr>
          <p:spPr>
            <a:xfrm>
              <a:off x="5121228" y="1934892"/>
              <a:ext cx="931164" cy="707326"/>
            </a:xfrm>
            <a:custGeom>
              <a:avLst/>
              <a:gdLst>
                <a:gd name="connsiteX0" fmla="*/ 931164 w 931164"/>
                <a:gd name="connsiteY0" fmla="*/ 114300 h 707326"/>
                <a:gd name="connsiteX1" fmla="*/ 816007 w 931164"/>
                <a:gd name="connsiteY1" fmla="*/ 0 h 707326"/>
                <a:gd name="connsiteX2" fmla="*/ 308134 w 931164"/>
                <a:gd name="connsiteY2" fmla="*/ 0 h 707326"/>
                <a:gd name="connsiteX3" fmla="*/ 308134 w 931164"/>
                <a:gd name="connsiteY3" fmla="*/ 143827 h 707326"/>
                <a:gd name="connsiteX4" fmla="*/ 308229 w 931164"/>
                <a:gd name="connsiteY4" fmla="*/ 143827 h 707326"/>
                <a:gd name="connsiteX5" fmla="*/ 308229 w 931164"/>
                <a:gd name="connsiteY5" fmla="*/ 206883 h 707326"/>
                <a:gd name="connsiteX6" fmla="*/ 308229 w 931164"/>
                <a:gd name="connsiteY6" fmla="*/ 219742 h 707326"/>
                <a:gd name="connsiteX7" fmla="*/ 308229 w 931164"/>
                <a:gd name="connsiteY7" fmla="*/ 227933 h 707326"/>
                <a:gd name="connsiteX8" fmla="*/ 308134 w 931164"/>
                <a:gd name="connsiteY8" fmla="*/ 229171 h 707326"/>
                <a:gd name="connsiteX9" fmla="*/ 308134 w 931164"/>
                <a:gd name="connsiteY9" fmla="*/ 230696 h 707326"/>
                <a:gd name="connsiteX10" fmla="*/ 307943 w 931164"/>
                <a:gd name="connsiteY10" fmla="*/ 232410 h 707326"/>
                <a:gd name="connsiteX11" fmla="*/ 307658 w 931164"/>
                <a:gd name="connsiteY11" fmla="*/ 235363 h 707326"/>
                <a:gd name="connsiteX12" fmla="*/ 307181 w 931164"/>
                <a:gd name="connsiteY12" fmla="*/ 238411 h 707326"/>
                <a:gd name="connsiteX13" fmla="*/ 306610 w 931164"/>
                <a:gd name="connsiteY13" fmla="*/ 241268 h 707326"/>
                <a:gd name="connsiteX14" fmla="*/ 305848 w 931164"/>
                <a:gd name="connsiteY14" fmla="*/ 244221 h 707326"/>
                <a:gd name="connsiteX15" fmla="*/ 304991 w 931164"/>
                <a:gd name="connsiteY15" fmla="*/ 246983 h 707326"/>
                <a:gd name="connsiteX16" fmla="*/ 303943 w 931164"/>
                <a:gd name="connsiteY16" fmla="*/ 249746 h 707326"/>
                <a:gd name="connsiteX17" fmla="*/ 302895 w 931164"/>
                <a:gd name="connsiteY17" fmla="*/ 252413 h 707326"/>
                <a:gd name="connsiteX18" fmla="*/ 301657 w 931164"/>
                <a:gd name="connsiteY18" fmla="*/ 254984 h 707326"/>
                <a:gd name="connsiteX19" fmla="*/ 300324 w 931164"/>
                <a:gd name="connsiteY19" fmla="*/ 257556 h 707326"/>
                <a:gd name="connsiteX20" fmla="*/ 298799 w 931164"/>
                <a:gd name="connsiteY20" fmla="*/ 260032 h 707326"/>
                <a:gd name="connsiteX21" fmla="*/ 297275 w 931164"/>
                <a:gd name="connsiteY21" fmla="*/ 262414 h 707326"/>
                <a:gd name="connsiteX22" fmla="*/ 295561 w 931164"/>
                <a:gd name="connsiteY22" fmla="*/ 264700 h 707326"/>
                <a:gd name="connsiteX23" fmla="*/ 293751 w 931164"/>
                <a:gd name="connsiteY23" fmla="*/ 266986 h 707326"/>
                <a:gd name="connsiteX24" fmla="*/ 291846 w 931164"/>
                <a:gd name="connsiteY24" fmla="*/ 269081 h 707326"/>
                <a:gd name="connsiteX25" fmla="*/ 289846 w 931164"/>
                <a:gd name="connsiteY25" fmla="*/ 271177 h 707326"/>
                <a:gd name="connsiteX26" fmla="*/ 287655 w 931164"/>
                <a:gd name="connsiteY26" fmla="*/ 273082 h 707326"/>
                <a:gd name="connsiteX27" fmla="*/ 285560 w 931164"/>
                <a:gd name="connsiteY27" fmla="*/ 274892 h 707326"/>
                <a:gd name="connsiteX28" fmla="*/ 283179 w 931164"/>
                <a:gd name="connsiteY28" fmla="*/ 276606 h 707326"/>
                <a:gd name="connsiteX29" fmla="*/ 280892 w 931164"/>
                <a:gd name="connsiteY29" fmla="*/ 278225 h 707326"/>
                <a:gd name="connsiteX30" fmla="*/ 278321 w 931164"/>
                <a:gd name="connsiteY30" fmla="*/ 279749 h 707326"/>
                <a:gd name="connsiteX31" fmla="*/ 275940 w 931164"/>
                <a:gd name="connsiteY31" fmla="*/ 281178 h 707326"/>
                <a:gd name="connsiteX32" fmla="*/ 273177 w 931164"/>
                <a:gd name="connsiteY32" fmla="*/ 282511 h 707326"/>
                <a:gd name="connsiteX33" fmla="*/ 270701 w 931164"/>
                <a:gd name="connsiteY33" fmla="*/ 283655 h 707326"/>
                <a:gd name="connsiteX34" fmla="*/ 267653 w 931164"/>
                <a:gd name="connsiteY34" fmla="*/ 284797 h 707326"/>
                <a:gd name="connsiteX35" fmla="*/ 265272 w 931164"/>
                <a:gd name="connsiteY35" fmla="*/ 285655 h 707326"/>
                <a:gd name="connsiteX36" fmla="*/ 261938 w 931164"/>
                <a:gd name="connsiteY36" fmla="*/ 286512 h 707326"/>
                <a:gd name="connsiteX37" fmla="*/ 259556 w 931164"/>
                <a:gd name="connsiteY37" fmla="*/ 287084 h 707326"/>
                <a:gd name="connsiteX38" fmla="*/ 255651 w 931164"/>
                <a:gd name="connsiteY38" fmla="*/ 287655 h 707326"/>
                <a:gd name="connsiteX39" fmla="*/ 253651 w 931164"/>
                <a:gd name="connsiteY39" fmla="*/ 287941 h 707326"/>
                <a:gd name="connsiteX40" fmla="*/ 247555 w 931164"/>
                <a:gd name="connsiteY40" fmla="*/ 288226 h 707326"/>
                <a:gd name="connsiteX41" fmla="*/ 157449 w 931164"/>
                <a:gd name="connsiteY41" fmla="*/ 288226 h 707326"/>
                <a:gd name="connsiteX42" fmla="*/ 157449 w 931164"/>
                <a:gd name="connsiteY42" fmla="*/ 363950 h 707326"/>
                <a:gd name="connsiteX43" fmla="*/ 96964 w 931164"/>
                <a:gd name="connsiteY43" fmla="*/ 424434 h 707326"/>
                <a:gd name="connsiteX44" fmla="*/ 0 w 931164"/>
                <a:gd name="connsiteY44" fmla="*/ 424434 h 707326"/>
                <a:gd name="connsiteX45" fmla="*/ 0 w 931164"/>
                <a:gd name="connsiteY45" fmla="*/ 707326 h 707326"/>
                <a:gd name="connsiteX46" fmla="*/ 930879 w 931164"/>
                <a:gd name="connsiteY46" fmla="*/ 707326 h 707326"/>
                <a:gd name="connsiteX47" fmla="*/ 930879 w 931164"/>
                <a:gd name="connsiteY47" fmla="*/ 114300 h 70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31164" h="707326">
                  <a:moveTo>
                    <a:pt x="931164" y="114300"/>
                  </a:moveTo>
                  <a:cubicBezTo>
                    <a:pt x="931164" y="51435"/>
                    <a:pt x="879348" y="0"/>
                    <a:pt x="816007" y="0"/>
                  </a:cubicBezTo>
                  <a:lnTo>
                    <a:pt x="308134" y="0"/>
                  </a:lnTo>
                  <a:lnTo>
                    <a:pt x="308134" y="143827"/>
                  </a:lnTo>
                  <a:lnTo>
                    <a:pt x="308229" y="143827"/>
                  </a:lnTo>
                  <a:lnTo>
                    <a:pt x="308229" y="206883"/>
                  </a:lnTo>
                  <a:lnTo>
                    <a:pt x="308229" y="219742"/>
                  </a:lnTo>
                  <a:lnTo>
                    <a:pt x="308229" y="227933"/>
                  </a:lnTo>
                  <a:cubicBezTo>
                    <a:pt x="308229" y="228314"/>
                    <a:pt x="308134" y="228790"/>
                    <a:pt x="308134" y="229171"/>
                  </a:cubicBezTo>
                  <a:lnTo>
                    <a:pt x="308134" y="230696"/>
                  </a:lnTo>
                  <a:cubicBezTo>
                    <a:pt x="308134" y="231267"/>
                    <a:pt x="308039" y="231838"/>
                    <a:pt x="307943" y="232410"/>
                  </a:cubicBezTo>
                  <a:cubicBezTo>
                    <a:pt x="307848" y="233363"/>
                    <a:pt x="307753" y="234315"/>
                    <a:pt x="307658" y="235363"/>
                  </a:cubicBezTo>
                  <a:cubicBezTo>
                    <a:pt x="307563" y="236410"/>
                    <a:pt x="307372" y="237363"/>
                    <a:pt x="307181" y="238411"/>
                  </a:cubicBezTo>
                  <a:cubicBezTo>
                    <a:pt x="306991" y="239363"/>
                    <a:pt x="306800" y="240316"/>
                    <a:pt x="306610" y="241268"/>
                  </a:cubicBezTo>
                  <a:cubicBezTo>
                    <a:pt x="306420" y="242221"/>
                    <a:pt x="306134" y="243173"/>
                    <a:pt x="305848" y="244221"/>
                  </a:cubicBezTo>
                  <a:cubicBezTo>
                    <a:pt x="305562" y="245173"/>
                    <a:pt x="305371" y="246031"/>
                    <a:pt x="304991" y="246983"/>
                  </a:cubicBezTo>
                  <a:cubicBezTo>
                    <a:pt x="304705" y="247936"/>
                    <a:pt x="304324" y="248793"/>
                    <a:pt x="303943" y="249746"/>
                  </a:cubicBezTo>
                  <a:cubicBezTo>
                    <a:pt x="303562" y="250603"/>
                    <a:pt x="303276" y="251555"/>
                    <a:pt x="302895" y="252413"/>
                  </a:cubicBezTo>
                  <a:cubicBezTo>
                    <a:pt x="302514" y="253270"/>
                    <a:pt x="302038" y="254127"/>
                    <a:pt x="301657" y="254984"/>
                  </a:cubicBezTo>
                  <a:cubicBezTo>
                    <a:pt x="301180" y="255842"/>
                    <a:pt x="300800" y="256699"/>
                    <a:pt x="300324" y="257556"/>
                  </a:cubicBezTo>
                  <a:cubicBezTo>
                    <a:pt x="299847" y="258413"/>
                    <a:pt x="299371" y="259175"/>
                    <a:pt x="298799" y="260032"/>
                  </a:cubicBezTo>
                  <a:cubicBezTo>
                    <a:pt x="298323" y="260794"/>
                    <a:pt x="297752" y="261652"/>
                    <a:pt x="297275" y="262414"/>
                  </a:cubicBezTo>
                  <a:cubicBezTo>
                    <a:pt x="296704" y="263176"/>
                    <a:pt x="296133" y="263938"/>
                    <a:pt x="295561" y="264700"/>
                  </a:cubicBezTo>
                  <a:cubicBezTo>
                    <a:pt x="294990" y="265462"/>
                    <a:pt x="294418" y="266224"/>
                    <a:pt x="293751" y="266986"/>
                  </a:cubicBezTo>
                  <a:cubicBezTo>
                    <a:pt x="293180" y="267748"/>
                    <a:pt x="292513" y="268414"/>
                    <a:pt x="291846" y="269081"/>
                  </a:cubicBezTo>
                  <a:cubicBezTo>
                    <a:pt x="291179" y="269748"/>
                    <a:pt x="290513" y="270510"/>
                    <a:pt x="289846" y="271177"/>
                  </a:cubicBezTo>
                  <a:cubicBezTo>
                    <a:pt x="289179" y="271843"/>
                    <a:pt x="288417" y="272510"/>
                    <a:pt x="287655" y="273082"/>
                  </a:cubicBezTo>
                  <a:cubicBezTo>
                    <a:pt x="286988" y="273748"/>
                    <a:pt x="286227" y="274320"/>
                    <a:pt x="285560" y="274892"/>
                  </a:cubicBezTo>
                  <a:cubicBezTo>
                    <a:pt x="284798" y="275463"/>
                    <a:pt x="284036" y="276034"/>
                    <a:pt x="283179" y="276606"/>
                  </a:cubicBezTo>
                  <a:cubicBezTo>
                    <a:pt x="282416" y="277177"/>
                    <a:pt x="281654" y="277749"/>
                    <a:pt x="280892" y="278225"/>
                  </a:cubicBezTo>
                  <a:cubicBezTo>
                    <a:pt x="280035" y="278797"/>
                    <a:pt x="279178" y="279273"/>
                    <a:pt x="278321" y="279749"/>
                  </a:cubicBezTo>
                  <a:cubicBezTo>
                    <a:pt x="277559" y="280225"/>
                    <a:pt x="276796" y="280702"/>
                    <a:pt x="275940" y="281178"/>
                  </a:cubicBezTo>
                  <a:cubicBezTo>
                    <a:pt x="274987" y="281654"/>
                    <a:pt x="274130" y="282130"/>
                    <a:pt x="273177" y="282511"/>
                  </a:cubicBezTo>
                  <a:cubicBezTo>
                    <a:pt x="272320" y="282892"/>
                    <a:pt x="271558" y="283273"/>
                    <a:pt x="270701" y="283655"/>
                  </a:cubicBezTo>
                  <a:cubicBezTo>
                    <a:pt x="269748" y="284035"/>
                    <a:pt x="268700" y="284417"/>
                    <a:pt x="267653" y="284797"/>
                  </a:cubicBezTo>
                  <a:cubicBezTo>
                    <a:pt x="266891" y="285083"/>
                    <a:pt x="266033" y="285369"/>
                    <a:pt x="265272" y="285655"/>
                  </a:cubicBezTo>
                  <a:cubicBezTo>
                    <a:pt x="264129" y="286036"/>
                    <a:pt x="263080" y="286226"/>
                    <a:pt x="261938" y="286512"/>
                  </a:cubicBezTo>
                  <a:cubicBezTo>
                    <a:pt x="261176" y="286702"/>
                    <a:pt x="260414" y="286988"/>
                    <a:pt x="259556" y="287084"/>
                  </a:cubicBezTo>
                  <a:cubicBezTo>
                    <a:pt x="258223" y="287369"/>
                    <a:pt x="256890" y="287464"/>
                    <a:pt x="255651" y="287655"/>
                  </a:cubicBezTo>
                  <a:cubicBezTo>
                    <a:pt x="254984" y="287750"/>
                    <a:pt x="254318" y="287846"/>
                    <a:pt x="253651" y="287941"/>
                  </a:cubicBezTo>
                  <a:cubicBezTo>
                    <a:pt x="251651" y="288131"/>
                    <a:pt x="249650" y="288226"/>
                    <a:pt x="247555" y="288226"/>
                  </a:cubicBezTo>
                  <a:lnTo>
                    <a:pt x="157449" y="288226"/>
                  </a:lnTo>
                  <a:lnTo>
                    <a:pt x="157449" y="363950"/>
                  </a:lnTo>
                  <a:cubicBezTo>
                    <a:pt x="157449" y="397192"/>
                    <a:pt x="130207" y="424434"/>
                    <a:pt x="96964" y="424434"/>
                  </a:cubicBezTo>
                  <a:lnTo>
                    <a:pt x="0" y="424434"/>
                  </a:lnTo>
                  <a:lnTo>
                    <a:pt x="0" y="707326"/>
                  </a:lnTo>
                  <a:lnTo>
                    <a:pt x="930879" y="707326"/>
                  </a:lnTo>
                  <a:lnTo>
                    <a:pt x="930879" y="11430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10" name="Freeform: Shape 209">
              <a:extLst>
                <a:ext uri="{FF2B5EF4-FFF2-40B4-BE49-F238E27FC236}">
                  <a16:creationId xmlns:a16="http://schemas.microsoft.com/office/drawing/2014/main" id="{1F154C30-B0BC-4216-8E39-C52393F48F52}"/>
                </a:ext>
              </a:extLst>
            </p:cNvPr>
            <p:cNvSpPr/>
            <p:nvPr/>
          </p:nvSpPr>
          <p:spPr>
            <a:xfrm>
              <a:off x="4648978" y="4562649"/>
              <a:ext cx="325278" cy="429958"/>
            </a:xfrm>
            <a:custGeom>
              <a:avLst/>
              <a:gdLst>
                <a:gd name="connsiteX0" fmla="*/ 211741 w 325278"/>
                <a:gd name="connsiteY0" fmla="*/ 95 h 429958"/>
                <a:gd name="connsiteX1" fmla="*/ 172593 w 325278"/>
                <a:gd name="connsiteY1" fmla="*/ 95 h 429958"/>
                <a:gd name="connsiteX2" fmla="*/ 107252 w 325278"/>
                <a:gd name="connsiteY2" fmla="*/ 95 h 429958"/>
                <a:gd name="connsiteX3" fmla="*/ 95155 w 325278"/>
                <a:gd name="connsiteY3" fmla="*/ 95 h 429958"/>
                <a:gd name="connsiteX4" fmla="*/ 0 w 325278"/>
                <a:gd name="connsiteY4" fmla="*/ 95 h 429958"/>
                <a:gd name="connsiteX5" fmla="*/ 11621 w 325278"/>
                <a:gd name="connsiteY5" fmla="*/ 34004 h 429958"/>
                <a:gd name="connsiteX6" fmla="*/ 11049 w 325278"/>
                <a:gd name="connsiteY6" fmla="*/ 232791 h 429958"/>
                <a:gd name="connsiteX7" fmla="*/ 11049 w 325278"/>
                <a:gd name="connsiteY7" fmla="*/ 236315 h 429958"/>
                <a:gd name="connsiteX8" fmla="*/ 11049 w 325278"/>
                <a:gd name="connsiteY8" fmla="*/ 237839 h 429958"/>
                <a:gd name="connsiteX9" fmla="*/ 11049 w 325278"/>
                <a:gd name="connsiteY9" fmla="*/ 237839 h 429958"/>
                <a:gd name="connsiteX10" fmla="*/ 11144 w 325278"/>
                <a:gd name="connsiteY10" fmla="*/ 239268 h 429958"/>
                <a:gd name="connsiteX11" fmla="*/ 11144 w 325278"/>
                <a:gd name="connsiteY11" fmla="*/ 239268 h 429958"/>
                <a:gd name="connsiteX12" fmla="*/ 11239 w 325278"/>
                <a:gd name="connsiteY12" fmla="*/ 240697 h 429958"/>
                <a:gd name="connsiteX13" fmla="*/ 11239 w 325278"/>
                <a:gd name="connsiteY13" fmla="*/ 240697 h 429958"/>
                <a:gd name="connsiteX14" fmla="*/ 11335 w 325278"/>
                <a:gd name="connsiteY14" fmla="*/ 242126 h 429958"/>
                <a:gd name="connsiteX15" fmla="*/ 11335 w 325278"/>
                <a:gd name="connsiteY15" fmla="*/ 242126 h 429958"/>
                <a:gd name="connsiteX16" fmla="*/ 11525 w 325278"/>
                <a:gd name="connsiteY16" fmla="*/ 243554 h 429958"/>
                <a:gd name="connsiteX17" fmla="*/ 11525 w 325278"/>
                <a:gd name="connsiteY17" fmla="*/ 243554 h 429958"/>
                <a:gd name="connsiteX18" fmla="*/ 11716 w 325278"/>
                <a:gd name="connsiteY18" fmla="*/ 244983 h 429958"/>
                <a:gd name="connsiteX19" fmla="*/ 11716 w 325278"/>
                <a:gd name="connsiteY19" fmla="*/ 244983 h 429958"/>
                <a:gd name="connsiteX20" fmla="*/ 12002 w 325278"/>
                <a:gd name="connsiteY20" fmla="*/ 246412 h 429958"/>
                <a:gd name="connsiteX21" fmla="*/ 12002 w 325278"/>
                <a:gd name="connsiteY21" fmla="*/ 246412 h 429958"/>
                <a:gd name="connsiteX22" fmla="*/ 12287 w 325278"/>
                <a:gd name="connsiteY22" fmla="*/ 247841 h 429958"/>
                <a:gd name="connsiteX23" fmla="*/ 12287 w 325278"/>
                <a:gd name="connsiteY23" fmla="*/ 247841 h 429958"/>
                <a:gd name="connsiteX24" fmla="*/ 12573 w 325278"/>
                <a:gd name="connsiteY24" fmla="*/ 249269 h 429958"/>
                <a:gd name="connsiteX25" fmla="*/ 12573 w 325278"/>
                <a:gd name="connsiteY25" fmla="*/ 249269 h 429958"/>
                <a:gd name="connsiteX26" fmla="*/ 12954 w 325278"/>
                <a:gd name="connsiteY26" fmla="*/ 250698 h 429958"/>
                <a:gd name="connsiteX27" fmla="*/ 12954 w 325278"/>
                <a:gd name="connsiteY27" fmla="*/ 250698 h 429958"/>
                <a:gd name="connsiteX28" fmla="*/ 64294 w 325278"/>
                <a:gd name="connsiteY28" fmla="*/ 293751 h 429958"/>
                <a:gd name="connsiteX29" fmla="*/ 64294 w 325278"/>
                <a:gd name="connsiteY29" fmla="*/ 293751 h 429958"/>
                <a:gd name="connsiteX30" fmla="*/ 65722 w 325278"/>
                <a:gd name="connsiteY30" fmla="*/ 293846 h 429958"/>
                <a:gd name="connsiteX31" fmla="*/ 65722 w 325278"/>
                <a:gd name="connsiteY31" fmla="*/ 293846 h 429958"/>
                <a:gd name="connsiteX32" fmla="*/ 66199 w 325278"/>
                <a:gd name="connsiteY32" fmla="*/ 293846 h 429958"/>
                <a:gd name="connsiteX33" fmla="*/ 69342 w 325278"/>
                <a:gd name="connsiteY33" fmla="*/ 293941 h 429958"/>
                <a:gd name="connsiteX34" fmla="*/ 76771 w 325278"/>
                <a:gd name="connsiteY34" fmla="*/ 293941 h 429958"/>
                <a:gd name="connsiteX35" fmla="*/ 157734 w 325278"/>
                <a:gd name="connsiteY35" fmla="*/ 374904 h 429958"/>
                <a:gd name="connsiteX36" fmla="*/ 157734 w 325278"/>
                <a:gd name="connsiteY36" fmla="*/ 429959 h 429958"/>
                <a:gd name="connsiteX37" fmla="*/ 268510 w 325278"/>
                <a:gd name="connsiteY37" fmla="*/ 429959 h 429958"/>
                <a:gd name="connsiteX38" fmla="*/ 325279 w 325278"/>
                <a:gd name="connsiteY38" fmla="*/ 381476 h 429958"/>
                <a:gd name="connsiteX39" fmla="*/ 325279 w 325278"/>
                <a:gd name="connsiteY39" fmla="*/ 0 h 429958"/>
                <a:gd name="connsiteX40" fmla="*/ 211741 w 325278"/>
                <a:gd name="connsiteY40" fmla="*/ 0 h 42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5278" h="429958">
                  <a:moveTo>
                    <a:pt x="211741" y="95"/>
                  </a:moveTo>
                  <a:lnTo>
                    <a:pt x="172593" y="95"/>
                  </a:lnTo>
                  <a:lnTo>
                    <a:pt x="107252" y="95"/>
                  </a:lnTo>
                  <a:lnTo>
                    <a:pt x="95155" y="95"/>
                  </a:lnTo>
                  <a:lnTo>
                    <a:pt x="0" y="95"/>
                  </a:lnTo>
                  <a:cubicBezTo>
                    <a:pt x="7239" y="7906"/>
                    <a:pt x="11716" y="18764"/>
                    <a:pt x="11621" y="34004"/>
                  </a:cubicBezTo>
                  <a:lnTo>
                    <a:pt x="11049" y="232791"/>
                  </a:lnTo>
                  <a:lnTo>
                    <a:pt x="11049" y="236315"/>
                  </a:lnTo>
                  <a:lnTo>
                    <a:pt x="11049" y="237839"/>
                  </a:lnTo>
                  <a:lnTo>
                    <a:pt x="11049" y="237839"/>
                  </a:lnTo>
                  <a:lnTo>
                    <a:pt x="11144" y="239268"/>
                  </a:lnTo>
                  <a:lnTo>
                    <a:pt x="11144" y="239268"/>
                  </a:lnTo>
                  <a:lnTo>
                    <a:pt x="11239" y="240697"/>
                  </a:lnTo>
                  <a:lnTo>
                    <a:pt x="11239" y="240697"/>
                  </a:lnTo>
                  <a:lnTo>
                    <a:pt x="11335" y="242126"/>
                  </a:lnTo>
                  <a:lnTo>
                    <a:pt x="11335" y="242126"/>
                  </a:lnTo>
                  <a:lnTo>
                    <a:pt x="11525" y="243554"/>
                  </a:lnTo>
                  <a:lnTo>
                    <a:pt x="11525" y="243554"/>
                  </a:lnTo>
                  <a:lnTo>
                    <a:pt x="11716" y="244983"/>
                  </a:lnTo>
                  <a:lnTo>
                    <a:pt x="11716" y="244983"/>
                  </a:lnTo>
                  <a:lnTo>
                    <a:pt x="12002" y="246412"/>
                  </a:lnTo>
                  <a:lnTo>
                    <a:pt x="12002" y="246412"/>
                  </a:lnTo>
                  <a:cubicBezTo>
                    <a:pt x="12097" y="246888"/>
                    <a:pt x="12192" y="247364"/>
                    <a:pt x="12287" y="247841"/>
                  </a:cubicBezTo>
                  <a:lnTo>
                    <a:pt x="12287" y="247841"/>
                  </a:lnTo>
                  <a:lnTo>
                    <a:pt x="12573" y="249269"/>
                  </a:lnTo>
                  <a:lnTo>
                    <a:pt x="12573" y="249269"/>
                  </a:lnTo>
                  <a:lnTo>
                    <a:pt x="12954" y="250698"/>
                  </a:lnTo>
                  <a:lnTo>
                    <a:pt x="12954" y="250698"/>
                  </a:lnTo>
                  <a:cubicBezTo>
                    <a:pt x="19145" y="273844"/>
                    <a:pt x="39434" y="291655"/>
                    <a:pt x="64294" y="293751"/>
                  </a:cubicBezTo>
                  <a:lnTo>
                    <a:pt x="64294" y="293751"/>
                  </a:lnTo>
                  <a:lnTo>
                    <a:pt x="65722" y="293846"/>
                  </a:lnTo>
                  <a:lnTo>
                    <a:pt x="65722" y="293846"/>
                  </a:lnTo>
                  <a:lnTo>
                    <a:pt x="66199" y="293846"/>
                  </a:lnTo>
                  <a:cubicBezTo>
                    <a:pt x="67342" y="293846"/>
                    <a:pt x="68199" y="293941"/>
                    <a:pt x="69342" y="293941"/>
                  </a:cubicBezTo>
                  <a:lnTo>
                    <a:pt x="76771" y="293941"/>
                  </a:lnTo>
                  <a:cubicBezTo>
                    <a:pt x="121349" y="293941"/>
                    <a:pt x="157734" y="330327"/>
                    <a:pt x="157734" y="374904"/>
                  </a:cubicBezTo>
                  <a:lnTo>
                    <a:pt x="157734" y="429959"/>
                  </a:lnTo>
                  <a:lnTo>
                    <a:pt x="268510" y="429959"/>
                  </a:lnTo>
                  <a:cubicBezTo>
                    <a:pt x="297085" y="429959"/>
                    <a:pt x="320898" y="408813"/>
                    <a:pt x="325279" y="381476"/>
                  </a:cubicBezTo>
                  <a:cubicBezTo>
                    <a:pt x="325279" y="381476"/>
                    <a:pt x="325279" y="80201"/>
                    <a:pt x="325279" y="0"/>
                  </a:cubicBezTo>
                  <a:lnTo>
                    <a:pt x="211741"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11" name="Freeform: Shape 210">
              <a:extLst>
                <a:ext uri="{FF2B5EF4-FFF2-40B4-BE49-F238E27FC236}">
                  <a16:creationId xmlns:a16="http://schemas.microsoft.com/office/drawing/2014/main" id="{BEF1A51A-4CDC-4918-922A-8E42BA210951}"/>
                </a:ext>
              </a:extLst>
            </p:cNvPr>
            <p:cNvSpPr/>
            <p:nvPr/>
          </p:nvSpPr>
          <p:spPr>
            <a:xfrm>
              <a:off x="4486386" y="4284043"/>
              <a:ext cx="276796" cy="278606"/>
            </a:xfrm>
            <a:custGeom>
              <a:avLst/>
              <a:gdLst>
                <a:gd name="connsiteX0" fmla="*/ 115158 w 276796"/>
                <a:gd name="connsiteY0" fmla="*/ 95 h 278606"/>
                <a:gd name="connsiteX1" fmla="*/ 0 w 276796"/>
                <a:gd name="connsiteY1" fmla="*/ 114395 h 278606"/>
                <a:gd name="connsiteX2" fmla="*/ 0 w 276796"/>
                <a:gd name="connsiteY2" fmla="*/ 164402 h 278606"/>
                <a:gd name="connsiteX3" fmla="*/ 191 w 276796"/>
                <a:gd name="connsiteY3" fmla="*/ 167545 h 278606"/>
                <a:gd name="connsiteX4" fmla="*/ 0 w 276796"/>
                <a:gd name="connsiteY4" fmla="*/ 170688 h 278606"/>
                <a:gd name="connsiteX5" fmla="*/ 0 w 276796"/>
                <a:gd name="connsiteY5" fmla="*/ 278606 h 278606"/>
                <a:gd name="connsiteX6" fmla="*/ 115158 w 276796"/>
                <a:gd name="connsiteY6" fmla="*/ 278606 h 278606"/>
                <a:gd name="connsiteX7" fmla="*/ 154305 w 276796"/>
                <a:gd name="connsiteY7" fmla="*/ 278606 h 278606"/>
                <a:gd name="connsiteX8" fmla="*/ 276797 w 276796"/>
                <a:gd name="connsiteY8" fmla="*/ 278606 h 278606"/>
                <a:gd name="connsiteX9" fmla="*/ 276797 w 276796"/>
                <a:gd name="connsiteY9" fmla="*/ 0 h 278606"/>
                <a:gd name="connsiteX10" fmla="*/ 115158 w 276796"/>
                <a:gd name="connsiteY10" fmla="*/ 0 h 2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796" h="278606">
                  <a:moveTo>
                    <a:pt x="115158" y="95"/>
                  </a:moveTo>
                  <a:cubicBezTo>
                    <a:pt x="51816" y="95"/>
                    <a:pt x="0" y="51530"/>
                    <a:pt x="0" y="114395"/>
                  </a:cubicBezTo>
                  <a:lnTo>
                    <a:pt x="0" y="164402"/>
                  </a:lnTo>
                  <a:cubicBezTo>
                    <a:pt x="0" y="165449"/>
                    <a:pt x="95" y="166497"/>
                    <a:pt x="191" y="167545"/>
                  </a:cubicBezTo>
                  <a:cubicBezTo>
                    <a:pt x="95" y="168593"/>
                    <a:pt x="0" y="169640"/>
                    <a:pt x="0" y="170688"/>
                  </a:cubicBezTo>
                  <a:lnTo>
                    <a:pt x="0" y="278606"/>
                  </a:lnTo>
                  <a:lnTo>
                    <a:pt x="115158" y="278606"/>
                  </a:lnTo>
                  <a:lnTo>
                    <a:pt x="154305" y="278606"/>
                  </a:lnTo>
                  <a:lnTo>
                    <a:pt x="276797" y="278606"/>
                  </a:lnTo>
                  <a:lnTo>
                    <a:pt x="276797" y="0"/>
                  </a:lnTo>
                  <a:lnTo>
                    <a:pt x="115158"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12" name="Freeform: Shape 211">
              <a:extLst>
                <a:ext uri="{FF2B5EF4-FFF2-40B4-BE49-F238E27FC236}">
                  <a16:creationId xmlns:a16="http://schemas.microsoft.com/office/drawing/2014/main" id="{01478734-0AC6-49AA-BF32-5CA553A98943}"/>
                </a:ext>
              </a:extLst>
            </p:cNvPr>
            <p:cNvSpPr/>
            <p:nvPr/>
          </p:nvSpPr>
          <p:spPr>
            <a:xfrm>
              <a:off x="4651074" y="3828367"/>
              <a:ext cx="633888" cy="734377"/>
            </a:xfrm>
            <a:custGeom>
              <a:avLst/>
              <a:gdLst>
                <a:gd name="connsiteX0" fmla="*/ 575024 w 633888"/>
                <a:gd name="connsiteY0" fmla="*/ 0 h 734377"/>
                <a:gd name="connsiteX1" fmla="*/ 472916 w 633888"/>
                <a:gd name="connsiteY1" fmla="*/ 0 h 734377"/>
                <a:gd name="connsiteX2" fmla="*/ 273463 w 633888"/>
                <a:gd name="connsiteY2" fmla="*/ 0 h 734377"/>
                <a:gd name="connsiteX3" fmla="*/ 247079 w 633888"/>
                <a:gd name="connsiteY3" fmla="*/ 0 h 734377"/>
                <a:gd name="connsiteX4" fmla="*/ 233648 w 633888"/>
                <a:gd name="connsiteY4" fmla="*/ 857 h 734377"/>
                <a:gd name="connsiteX5" fmla="*/ 82487 w 633888"/>
                <a:gd name="connsiteY5" fmla="*/ 1238 h 734377"/>
                <a:gd name="connsiteX6" fmla="*/ 762 w 633888"/>
                <a:gd name="connsiteY6" fmla="*/ 762 h 734377"/>
                <a:gd name="connsiteX7" fmla="*/ 762 w 633888"/>
                <a:gd name="connsiteY7" fmla="*/ 141637 h 734377"/>
                <a:gd name="connsiteX8" fmla="*/ 0 w 633888"/>
                <a:gd name="connsiteY8" fmla="*/ 141637 h 734377"/>
                <a:gd name="connsiteX9" fmla="*/ 0 w 633888"/>
                <a:gd name="connsiteY9" fmla="*/ 455771 h 734377"/>
                <a:gd name="connsiteX10" fmla="*/ 93250 w 633888"/>
                <a:gd name="connsiteY10" fmla="*/ 455771 h 734377"/>
                <a:gd name="connsiteX11" fmla="*/ 105346 w 633888"/>
                <a:gd name="connsiteY11" fmla="*/ 455771 h 734377"/>
                <a:gd name="connsiteX12" fmla="*/ 110776 w 633888"/>
                <a:gd name="connsiteY12" fmla="*/ 455771 h 734377"/>
                <a:gd name="connsiteX13" fmla="*/ 110776 w 633888"/>
                <a:gd name="connsiteY13" fmla="*/ 734378 h 734377"/>
                <a:gd name="connsiteX14" fmla="*/ 182309 w 633888"/>
                <a:gd name="connsiteY14" fmla="*/ 734378 h 734377"/>
                <a:gd name="connsiteX15" fmla="*/ 218504 w 633888"/>
                <a:gd name="connsiteY15" fmla="*/ 734378 h 734377"/>
                <a:gd name="connsiteX16" fmla="*/ 324993 w 633888"/>
                <a:gd name="connsiteY16" fmla="*/ 734378 h 734377"/>
                <a:gd name="connsiteX17" fmla="*/ 324993 w 633888"/>
                <a:gd name="connsiteY17" fmla="*/ 711232 h 734377"/>
                <a:gd name="connsiteX18" fmla="*/ 437674 w 633888"/>
                <a:gd name="connsiteY18" fmla="*/ 615029 h 734377"/>
                <a:gd name="connsiteX19" fmla="*/ 633889 w 633888"/>
                <a:gd name="connsiteY19" fmla="*/ 615029 h 734377"/>
                <a:gd name="connsiteX20" fmla="*/ 633889 w 633888"/>
                <a:gd name="connsiteY20" fmla="*/ 512731 h 734377"/>
                <a:gd name="connsiteX21" fmla="*/ 633889 w 633888"/>
                <a:gd name="connsiteY21" fmla="*/ 232886 h 734377"/>
                <a:gd name="connsiteX22" fmla="*/ 633889 w 633888"/>
                <a:gd name="connsiteY22" fmla="*/ 58769 h 734377"/>
                <a:gd name="connsiteX23" fmla="*/ 575024 w 633888"/>
                <a:gd name="connsiteY23" fmla="*/ 0 h 73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3888" h="734377">
                  <a:moveTo>
                    <a:pt x="575024" y="0"/>
                  </a:moveTo>
                  <a:lnTo>
                    <a:pt x="472916" y="0"/>
                  </a:lnTo>
                  <a:lnTo>
                    <a:pt x="273463" y="0"/>
                  </a:lnTo>
                  <a:lnTo>
                    <a:pt x="247079" y="0"/>
                  </a:lnTo>
                  <a:cubicBezTo>
                    <a:pt x="242506" y="0"/>
                    <a:pt x="238030" y="381"/>
                    <a:pt x="233648" y="857"/>
                  </a:cubicBezTo>
                  <a:lnTo>
                    <a:pt x="82487" y="1238"/>
                  </a:lnTo>
                  <a:lnTo>
                    <a:pt x="762" y="762"/>
                  </a:lnTo>
                  <a:lnTo>
                    <a:pt x="762" y="141637"/>
                  </a:lnTo>
                  <a:lnTo>
                    <a:pt x="0" y="141637"/>
                  </a:lnTo>
                  <a:lnTo>
                    <a:pt x="0" y="455771"/>
                  </a:lnTo>
                  <a:lnTo>
                    <a:pt x="93250" y="455771"/>
                  </a:lnTo>
                  <a:lnTo>
                    <a:pt x="105346" y="455771"/>
                  </a:lnTo>
                  <a:lnTo>
                    <a:pt x="110776" y="455771"/>
                  </a:lnTo>
                  <a:lnTo>
                    <a:pt x="110776" y="734378"/>
                  </a:lnTo>
                  <a:lnTo>
                    <a:pt x="182309" y="734378"/>
                  </a:lnTo>
                  <a:lnTo>
                    <a:pt x="218504" y="734378"/>
                  </a:lnTo>
                  <a:lnTo>
                    <a:pt x="324993" y="734378"/>
                  </a:lnTo>
                  <a:lnTo>
                    <a:pt x="324993" y="711232"/>
                  </a:lnTo>
                  <a:cubicBezTo>
                    <a:pt x="333756" y="656939"/>
                    <a:pt x="381000" y="615029"/>
                    <a:pt x="437674" y="615029"/>
                  </a:cubicBezTo>
                  <a:lnTo>
                    <a:pt x="633889" y="615029"/>
                  </a:lnTo>
                  <a:lnTo>
                    <a:pt x="633889" y="512731"/>
                  </a:lnTo>
                  <a:lnTo>
                    <a:pt x="633889" y="232886"/>
                  </a:lnTo>
                  <a:lnTo>
                    <a:pt x="633889" y="58769"/>
                  </a:lnTo>
                  <a:cubicBezTo>
                    <a:pt x="633699" y="26384"/>
                    <a:pt x="607314" y="0"/>
                    <a:pt x="575024" y="0"/>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grpSp>
      <p:pic>
        <p:nvPicPr>
          <p:cNvPr id="2" name="Picture 1">
            <a:extLst>
              <a:ext uri="{FF2B5EF4-FFF2-40B4-BE49-F238E27FC236}">
                <a16:creationId xmlns:a16="http://schemas.microsoft.com/office/drawing/2014/main" id="{164155F0-7259-0083-BF71-43D1E67CCCEF}"/>
              </a:ext>
            </a:extLst>
          </p:cNvPr>
          <p:cNvPicPr>
            <a:picLocks noChangeAspect="1"/>
          </p:cNvPicPr>
          <p:nvPr userDrawn="1"/>
        </p:nvPicPr>
        <p:blipFill>
          <a:blip r:embed="rId2"/>
          <a:stretch>
            <a:fillRect/>
          </a:stretch>
        </p:blipFill>
        <p:spPr>
          <a:xfrm>
            <a:off x="205062" y="5137252"/>
            <a:ext cx="814736" cy="305962"/>
          </a:xfrm>
          <a:prstGeom prst="rect">
            <a:avLst/>
          </a:prstGeom>
        </p:spPr>
      </p:pic>
      <p:pic>
        <p:nvPicPr>
          <p:cNvPr id="3" name="Picture 2">
            <a:extLst>
              <a:ext uri="{FF2B5EF4-FFF2-40B4-BE49-F238E27FC236}">
                <a16:creationId xmlns:a16="http://schemas.microsoft.com/office/drawing/2014/main" id="{EF950830-2BF7-C01D-4F0A-2E779F7D92F2}"/>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109527" y="4216462"/>
            <a:ext cx="663210" cy="529678"/>
          </a:xfrm>
          <a:prstGeom prst="rect">
            <a:avLst/>
          </a:prstGeom>
        </p:spPr>
      </p:pic>
      <p:pic>
        <p:nvPicPr>
          <p:cNvPr id="4" name="Picture 3">
            <a:extLst>
              <a:ext uri="{FF2B5EF4-FFF2-40B4-BE49-F238E27FC236}">
                <a16:creationId xmlns:a16="http://schemas.microsoft.com/office/drawing/2014/main" id="{6F5D7B02-2C89-8B56-D153-D75A4FB69807}"/>
              </a:ext>
            </a:extLst>
          </p:cNvPr>
          <p:cNvPicPr>
            <a:picLocks noChangeAspect="1"/>
          </p:cNvPicPr>
          <p:nvPr userDrawn="1"/>
        </p:nvPicPr>
        <p:blipFill>
          <a:blip r:embed="rId4"/>
          <a:srcRect/>
          <a:stretch/>
        </p:blipFill>
        <p:spPr>
          <a:xfrm>
            <a:off x="317253" y="2421002"/>
            <a:ext cx="670193" cy="322740"/>
          </a:xfrm>
          <a:prstGeom prst="rect">
            <a:avLst/>
          </a:prstGeom>
        </p:spPr>
      </p:pic>
      <p:pic>
        <p:nvPicPr>
          <p:cNvPr id="5" name="Picture 4">
            <a:extLst>
              <a:ext uri="{FF2B5EF4-FFF2-40B4-BE49-F238E27FC236}">
                <a16:creationId xmlns:a16="http://schemas.microsoft.com/office/drawing/2014/main" id="{6CAD0BF7-9004-357E-A3C5-901E0E39215F}"/>
              </a:ext>
            </a:extLst>
          </p:cNvPr>
          <p:cNvPicPr>
            <a:picLocks noChangeAspect="1"/>
          </p:cNvPicPr>
          <p:nvPr userDrawn="1"/>
        </p:nvPicPr>
        <p:blipFill>
          <a:blip r:embed="rId5"/>
          <a:stretch>
            <a:fillRect/>
          </a:stretch>
        </p:blipFill>
        <p:spPr>
          <a:xfrm>
            <a:off x="289456" y="3550937"/>
            <a:ext cx="648702" cy="325052"/>
          </a:xfrm>
          <a:prstGeom prst="rect">
            <a:avLst/>
          </a:prstGeom>
        </p:spPr>
      </p:pic>
      <p:pic>
        <p:nvPicPr>
          <p:cNvPr id="6" name="Picture 12" descr="http://www.ingenieurjobs.de/content/tinybrowser/image/transnetbw_gmbh.jpg">
            <a:extLst>
              <a:ext uri="{FF2B5EF4-FFF2-40B4-BE49-F238E27FC236}">
                <a16:creationId xmlns:a16="http://schemas.microsoft.com/office/drawing/2014/main" id="{07922BA7-FFCA-9BB3-353C-E4A1D55E1043}"/>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02563" y="5392629"/>
            <a:ext cx="834236" cy="164762"/>
          </a:xfrm>
          <a:prstGeom prst="rect">
            <a:avLst/>
          </a:prstGeom>
          <a:noFill/>
          <a:extLst>
            <a:ext uri="{909E8E84-426E-40dd-AFC4-6F175D3DCCD1}">
              <a14:hiddenFill xmlns:a14="http://schemas.microsoft.com/office/drawing/2010/main" xmlns="">
                <a:solidFill>
                  <a:srgbClr val="FFFFFF"/>
                </a:solidFill>
              </a14:hiddenFill>
            </a:ext>
          </a:extLst>
        </p:spPr>
      </p:pic>
      <p:pic>
        <p:nvPicPr>
          <p:cNvPr id="7" name="Picture 6">
            <a:extLst>
              <a:ext uri="{FF2B5EF4-FFF2-40B4-BE49-F238E27FC236}">
                <a16:creationId xmlns:a16="http://schemas.microsoft.com/office/drawing/2014/main" id="{912105E6-8F9B-E326-5E91-22D6CDB2E1B5}"/>
              </a:ext>
            </a:extLst>
          </p:cNvPr>
          <p:cNvPicPr>
            <a:picLocks noChangeAspect="1"/>
          </p:cNvPicPr>
          <p:nvPr userDrawn="1"/>
        </p:nvPicPr>
        <p:blipFill>
          <a:blip r:embed="rId7"/>
          <a:stretch>
            <a:fillRect/>
          </a:stretch>
        </p:blipFill>
        <p:spPr>
          <a:xfrm>
            <a:off x="1139971" y="2147510"/>
            <a:ext cx="606064" cy="379476"/>
          </a:xfrm>
          <a:prstGeom prst="rect">
            <a:avLst/>
          </a:prstGeom>
        </p:spPr>
      </p:pic>
      <p:pic>
        <p:nvPicPr>
          <p:cNvPr id="8" name="Picture 7">
            <a:extLst>
              <a:ext uri="{FF2B5EF4-FFF2-40B4-BE49-F238E27FC236}">
                <a16:creationId xmlns:a16="http://schemas.microsoft.com/office/drawing/2014/main" id="{75BEF42A-4B4F-E77B-A2A5-D523BB14C7BE}"/>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r="66927"/>
          <a:stretch/>
        </p:blipFill>
        <p:spPr>
          <a:xfrm>
            <a:off x="1133792" y="2752294"/>
            <a:ext cx="631011" cy="253934"/>
          </a:xfrm>
          <a:prstGeom prst="rect">
            <a:avLst/>
          </a:prstGeom>
        </p:spPr>
      </p:pic>
      <p:pic>
        <p:nvPicPr>
          <p:cNvPr id="9" name="Picture 8">
            <a:extLst>
              <a:ext uri="{FF2B5EF4-FFF2-40B4-BE49-F238E27FC236}">
                <a16:creationId xmlns:a16="http://schemas.microsoft.com/office/drawing/2014/main" id="{A6360BB9-91EB-EFE7-F9C6-2939B4D04B53}"/>
              </a:ext>
            </a:extLst>
          </p:cNvPr>
          <p:cNvPicPr>
            <a:picLocks noChangeAspect="1"/>
          </p:cNvPicPr>
          <p:nvPr userDrawn="1"/>
        </p:nvPicPr>
        <p:blipFill>
          <a:blip r:embed="rId9" cstate="email">
            <a:extLst>
              <a:ext uri="{28A0092B-C50C-407E-A947-70E740481C1C}">
                <a14:useLocalDpi xmlns:a14="http://schemas.microsoft.com/office/drawing/2010/main" val="0"/>
              </a:ext>
            </a:extLst>
          </a:blip>
          <a:stretch>
            <a:fillRect/>
          </a:stretch>
        </p:blipFill>
        <p:spPr>
          <a:xfrm>
            <a:off x="288899" y="4698332"/>
            <a:ext cx="592836" cy="196596"/>
          </a:xfrm>
          <a:prstGeom prst="rect">
            <a:avLst/>
          </a:prstGeom>
        </p:spPr>
      </p:pic>
      <p:pic>
        <p:nvPicPr>
          <p:cNvPr id="10" name="Picture 9">
            <a:extLst>
              <a:ext uri="{FF2B5EF4-FFF2-40B4-BE49-F238E27FC236}">
                <a16:creationId xmlns:a16="http://schemas.microsoft.com/office/drawing/2014/main" id="{DE4C7996-BCB2-30BE-DEDB-5CCCCC5030C7}"/>
              </a:ext>
            </a:extLst>
          </p:cNvPr>
          <p:cNvPicPr>
            <a:picLocks noChangeAspect="1"/>
          </p:cNvPicPr>
          <p:nvPr userDrawn="1"/>
        </p:nvPicPr>
        <p:blipFill>
          <a:blip r:embed="rId10"/>
          <a:stretch>
            <a:fillRect/>
          </a:stretch>
        </p:blipFill>
        <p:spPr>
          <a:xfrm>
            <a:off x="287703" y="5476257"/>
            <a:ext cx="633790" cy="396119"/>
          </a:xfrm>
          <a:prstGeom prst="rect">
            <a:avLst/>
          </a:prstGeom>
        </p:spPr>
      </p:pic>
      <p:pic>
        <p:nvPicPr>
          <p:cNvPr id="11" name="Picture 10">
            <a:extLst>
              <a:ext uri="{FF2B5EF4-FFF2-40B4-BE49-F238E27FC236}">
                <a16:creationId xmlns:a16="http://schemas.microsoft.com/office/drawing/2014/main" id="{B00412DA-EBD7-8569-1175-50E3D515EB65}"/>
              </a:ext>
            </a:extLst>
          </p:cNvPr>
          <p:cNvPicPr>
            <a:picLocks noChangeAspect="1"/>
          </p:cNvPicPr>
          <p:nvPr userDrawn="1"/>
        </p:nvPicPr>
        <p:blipFill>
          <a:blip r:embed="rId11" cstate="hqprint">
            <a:extLst>
              <a:ext uri="{28A0092B-C50C-407E-A947-70E740481C1C}">
                <a14:useLocalDpi xmlns:a14="http://schemas.microsoft.com/office/drawing/2010/main"/>
              </a:ext>
            </a:extLst>
          </a:blip>
          <a:stretch>
            <a:fillRect/>
          </a:stretch>
        </p:blipFill>
        <p:spPr>
          <a:xfrm>
            <a:off x="1213955" y="3158657"/>
            <a:ext cx="396152" cy="366468"/>
          </a:xfrm>
          <a:prstGeom prst="rect">
            <a:avLst/>
          </a:prstGeom>
        </p:spPr>
      </p:pic>
      <p:pic>
        <p:nvPicPr>
          <p:cNvPr id="12" name="Picture 11">
            <a:extLst>
              <a:ext uri="{FF2B5EF4-FFF2-40B4-BE49-F238E27FC236}">
                <a16:creationId xmlns:a16="http://schemas.microsoft.com/office/drawing/2014/main" id="{E2E1954F-3621-1EBD-580C-11A3A5CBF894}"/>
              </a:ext>
            </a:extLst>
          </p:cNvPr>
          <p:cNvPicPr>
            <a:picLocks noChangeAspect="1"/>
          </p:cNvPicPr>
          <p:nvPr userDrawn="1"/>
        </p:nvPicPr>
        <p:blipFill>
          <a:blip r:embed="rId12"/>
          <a:stretch>
            <a:fillRect/>
          </a:stretch>
        </p:blipFill>
        <p:spPr>
          <a:xfrm>
            <a:off x="324830" y="4088565"/>
            <a:ext cx="718857" cy="345045"/>
          </a:xfrm>
          <a:prstGeom prst="rect">
            <a:avLst/>
          </a:prstGeom>
        </p:spPr>
      </p:pic>
      <p:pic>
        <p:nvPicPr>
          <p:cNvPr id="13" name="Picture 12">
            <a:extLst>
              <a:ext uri="{FF2B5EF4-FFF2-40B4-BE49-F238E27FC236}">
                <a16:creationId xmlns:a16="http://schemas.microsoft.com/office/drawing/2014/main" id="{D1827105-5CD7-11E1-9836-7A9404AC8961}"/>
              </a:ext>
            </a:extLst>
          </p:cNvPr>
          <p:cNvPicPr>
            <a:picLocks noChangeAspect="1"/>
          </p:cNvPicPr>
          <p:nvPr userDrawn="1"/>
        </p:nvPicPr>
        <p:blipFill>
          <a:blip r:embed="rId13"/>
          <a:stretch>
            <a:fillRect/>
          </a:stretch>
        </p:blipFill>
        <p:spPr>
          <a:xfrm>
            <a:off x="216480" y="2964886"/>
            <a:ext cx="762321" cy="358625"/>
          </a:xfrm>
          <a:prstGeom prst="rect">
            <a:avLst/>
          </a:prstGeom>
        </p:spPr>
      </p:pic>
      <p:pic>
        <p:nvPicPr>
          <p:cNvPr id="14" name="Picture 13">
            <a:extLst>
              <a:ext uri="{FF2B5EF4-FFF2-40B4-BE49-F238E27FC236}">
                <a16:creationId xmlns:a16="http://schemas.microsoft.com/office/drawing/2014/main" id="{B4A38CAF-3C17-5297-D3D2-D54B6C8915C1}"/>
              </a:ext>
            </a:extLst>
          </p:cNvPr>
          <p:cNvPicPr>
            <a:picLocks noChangeAspect="1"/>
          </p:cNvPicPr>
          <p:nvPr userDrawn="1"/>
        </p:nvPicPr>
        <p:blipFill>
          <a:blip r:embed="rId14"/>
          <a:stretch>
            <a:fillRect/>
          </a:stretch>
        </p:blipFill>
        <p:spPr>
          <a:xfrm>
            <a:off x="205062" y="1981362"/>
            <a:ext cx="833968" cy="305962"/>
          </a:xfrm>
          <a:prstGeom prst="rect">
            <a:avLst/>
          </a:prstGeom>
        </p:spPr>
      </p:pic>
      <p:pic>
        <p:nvPicPr>
          <p:cNvPr id="17" name="Graphic 16">
            <a:extLst>
              <a:ext uri="{FF2B5EF4-FFF2-40B4-BE49-F238E27FC236}">
                <a16:creationId xmlns:a16="http://schemas.microsoft.com/office/drawing/2014/main" id="{293A9A6F-A898-903D-D215-32509F4D2489}"/>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1010054" y="4959290"/>
            <a:ext cx="819253" cy="155658"/>
          </a:xfrm>
          <a:prstGeom prst="rect">
            <a:avLst/>
          </a:prstGeom>
        </p:spPr>
      </p:pic>
      <p:pic>
        <p:nvPicPr>
          <p:cNvPr id="18" name="Graphic 17">
            <a:extLst>
              <a:ext uri="{FF2B5EF4-FFF2-40B4-BE49-F238E27FC236}">
                <a16:creationId xmlns:a16="http://schemas.microsoft.com/office/drawing/2014/main" id="{0B262765-BC13-9D6F-559A-F100D34D3D4E}"/>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1116101" y="3678056"/>
            <a:ext cx="606064" cy="233102"/>
          </a:xfrm>
          <a:prstGeom prst="rect">
            <a:avLst/>
          </a:prstGeom>
        </p:spPr>
      </p:pic>
    </p:spTree>
    <p:extLst>
      <p:ext uri="{BB962C8B-B14F-4D97-AF65-F5344CB8AC3E}">
        <p14:creationId xmlns:p14="http://schemas.microsoft.com/office/powerpoint/2010/main" val="799956769"/>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ppendix">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lvl1pPr>
              <a:defRPr b="0" i="0"/>
            </a:lvl1pPr>
          </a:lstStyle>
          <a:p>
            <a:fld id="{F551322C-20B2-48C3-B63D-68158FEBF630}" type="slidenum">
              <a:rPr lang="en-US" smtClean="0"/>
              <a:pPr/>
              <a:t>‹#›</a:t>
            </a:fld>
            <a:endParaRPr lang="en-US" dirty="0"/>
          </a:p>
        </p:txBody>
      </p:sp>
      <p:sp>
        <p:nvSpPr>
          <p:cNvPr id="22" name="Text Placeholder 15"/>
          <p:cNvSpPr>
            <a:spLocks noGrp="1"/>
          </p:cNvSpPr>
          <p:nvPr>
            <p:ph type="body" sz="quarter" idx="12" hasCustomPrompt="1"/>
          </p:nvPr>
        </p:nvSpPr>
        <p:spPr>
          <a:xfrm>
            <a:off x="1927517" y="1792800"/>
            <a:ext cx="7395317" cy="792162"/>
          </a:xfrm>
          <a:prstGeom prst="rect">
            <a:avLst/>
          </a:prstGeom>
        </p:spPr>
        <p:txBody>
          <a:bodyPr vert="horz" wrap="square" lIns="72000" tIns="36000" rIns="72000" bIns="36000" rtlCol="0" anchor="ctr" anchorCtr="0">
            <a:noAutofit/>
          </a:bodyPr>
          <a:lstStyle>
            <a:lvl1pPr>
              <a:defRPr lang="en-US" sz="3000" b="0" i="0" baseline="0" dirty="0">
                <a:solidFill>
                  <a:srgbClr val="3366FF"/>
                </a:solidFill>
              </a:defRPr>
            </a:lvl1pPr>
          </a:lstStyle>
          <a:p>
            <a:pPr lvl="0"/>
            <a:r>
              <a:rPr lang="en-US" dirty="0"/>
              <a:t>Appendix</a:t>
            </a:r>
          </a:p>
        </p:txBody>
      </p:sp>
      <p:pic>
        <p:nvPicPr>
          <p:cNvPr id="2" name="Picture 1">
            <a:extLst>
              <a:ext uri="{FF2B5EF4-FFF2-40B4-BE49-F238E27FC236}">
                <a16:creationId xmlns:a16="http://schemas.microsoft.com/office/drawing/2014/main" id="{604264D4-317B-4406-0E9D-8DEB027A8E50}"/>
              </a:ext>
            </a:extLst>
          </p:cNvPr>
          <p:cNvPicPr>
            <a:picLocks noChangeAspect="1"/>
          </p:cNvPicPr>
          <p:nvPr userDrawn="1"/>
        </p:nvPicPr>
        <p:blipFill>
          <a:blip r:embed="rId2"/>
          <a:stretch>
            <a:fillRect/>
          </a:stretch>
        </p:blipFill>
        <p:spPr>
          <a:xfrm>
            <a:off x="205062" y="5137252"/>
            <a:ext cx="814736" cy="305962"/>
          </a:xfrm>
          <a:prstGeom prst="rect">
            <a:avLst/>
          </a:prstGeom>
        </p:spPr>
      </p:pic>
      <p:pic>
        <p:nvPicPr>
          <p:cNvPr id="3" name="Picture 2">
            <a:extLst>
              <a:ext uri="{FF2B5EF4-FFF2-40B4-BE49-F238E27FC236}">
                <a16:creationId xmlns:a16="http://schemas.microsoft.com/office/drawing/2014/main" id="{E38EE37A-2422-A86F-729B-5B7D9C6D4AF4}"/>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109527" y="4216462"/>
            <a:ext cx="663210" cy="529678"/>
          </a:xfrm>
          <a:prstGeom prst="rect">
            <a:avLst/>
          </a:prstGeom>
        </p:spPr>
      </p:pic>
      <p:pic>
        <p:nvPicPr>
          <p:cNvPr id="5" name="Picture 4">
            <a:extLst>
              <a:ext uri="{FF2B5EF4-FFF2-40B4-BE49-F238E27FC236}">
                <a16:creationId xmlns:a16="http://schemas.microsoft.com/office/drawing/2014/main" id="{8D4ED124-F29B-282C-9F84-C24C2D907BBF}"/>
              </a:ext>
            </a:extLst>
          </p:cNvPr>
          <p:cNvPicPr>
            <a:picLocks noChangeAspect="1"/>
          </p:cNvPicPr>
          <p:nvPr userDrawn="1"/>
        </p:nvPicPr>
        <p:blipFill>
          <a:blip r:embed="rId4"/>
          <a:srcRect/>
          <a:stretch/>
        </p:blipFill>
        <p:spPr>
          <a:xfrm>
            <a:off x="317253" y="2421002"/>
            <a:ext cx="670193" cy="322740"/>
          </a:xfrm>
          <a:prstGeom prst="rect">
            <a:avLst/>
          </a:prstGeom>
        </p:spPr>
      </p:pic>
      <p:pic>
        <p:nvPicPr>
          <p:cNvPr id="6" name="Picture 5">
            <a:extLst>
              <a:ext uri="{FF2B5EF4-FFF2-40B4-BE49-F238E27FC236}">
                <a16:creationId xmlns:a16="http://schemas.microsoft.com/office/drawing/2014/main" id="{0797F9C4-914E-DC0F-82B3-E8B560F359B5}"/>
              </a:ext>
            </a:extLst>
          </p:cNvPr>
          <p:cNvPicPr>
            <a:picLocks noChangeAspect="1"/>
          </p:cNvPicPr>
          <p:nvPr userDrawn="1"/>
        </p:nvPicPr>
        <p:blipFill>
          <a:blip r:embed="rId5"/>
          <a:stretch>
            <a:fillRect/>
          </a:stretch>
        </p:blipFill>
        <p:spPr>
          <a:xfrm>
            <a:off x="289456" y="3550937"/>
            <a:ext cx="648702" cy="325052"/>
          </a:xfrm>
          <a:prstGeom prst="rect">
            <a:avLst/>
          </a:prstGeom>
        </p:spPr>
      </p:pic>
      <p:pic>
        <p:nvPicPr>
          <p:cNvPr id="7" name="Picture 12" descr="http://www.ingenieurjobs.de/content/tinybrowser/image/transnetbw_gmbh.jpg">
            <a:extLst>
              <a:ext uri="{FF2B5EF4-FFF2-40B4-BE49-F238E27FC236}">
                <a16:creationId xmlns:a16="http://schemas.microsoft.com/office/drawing/2014/main" id="{F393F0C4-DCF2-7D14-C213-9DE50F5B7D63}"/>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02563" y="5392629"/>
            <a:ext cx="834236" cy="164762"/>
          </a:xfrm>
          <a:prstGeom prst="rect">
            <a:avLst/>
          </a:prstGeom>
          <a:noFill/>
          <a:extLst>
            <a:ext uri="{909E8E84-426E-40dd-AFC4-6F175D3DCCD1}">
              <a14:hiddenFill xmlns:a14="http://schemas.microsoft.com/office/drawing/2010/main" xmlns="">
                <a:solidFill>
                  <a:srgbClr val="FFFFFF"/>
                </a:solidFill>
              </a14:hiddenFill>
            </a:ext>
          </a:extLst>
        </p:spPr>
      </p:pic>
      <p:pic>
        <p:nvPicPr>
          <p:cNvPr id="8" name="Picture 7">
            <a:extLst>
              <a:ext uri="{FF2B5EF4-FFF2-40B4-BE49-F238E27FC236}">
                <a16:creationId xmlns:a16="http://schemas.microsoft.com/office/drawing/2014/main" id="{C035160A-7EE8-134D-4A30-AD3A1461958C}"/>
              </a:ext>
            </a:extLst>
          </p:cNvPr>
          <p:cNvPicPr>
            <a:picLocks noChangeAspect="1"/>
          </p:cNvPicPr>
          <p:nvPr userDrawn="1"/>
        </p:nvPicPr>
        <p:blipFill>
          <a:blip r:embed="rId7"/>
          <a:stretch>
            <a:fillRect/>
          </a:stretch>
        </p:blipFill>
        <p:spPr>
          <a:xfrm>
            <a:off x="1139971" y="2147510"/>
            <a:ext cx="606064" cy="379476"/>
          </a:xfrm>
          <a:prstGeom prst="rect">
            <a:avLst/>
          </a:prstGeom>
        </p:spPr>
      </p:pic>
      <p:pic>
        <p:nvPicPr>
          <p:cNvPr id="9" name="Picture 8">
            <a:extLst>
              <a:ext uri="{FF2B5EF4-FFF2-40B4-BE49-F238E27FC236}">
                <a16:creationId xmlns:a16="http://schemas.microsoft.com/office/drawing/2014/main" id="{6A4312E9-EFAD-0041-8647-FCDF261C321F}"/>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r="66927"/>
          <a:stretch/>
        </p:blipFill>
        <p:spPr>
          <a:xfrm>
            <a:off x="1133792" y="2752294"/>
            <a:ext cx="631011" cy="253934"/>
          </a:xfrm>
          <a:prstGeom prst="rect">
            <a:avLst/>
          </a:prstGeom>
        </p:spPr>
      </p:pic>
      <p:pic>
        <p:nvPicPr>
          <p:cNvPr id="10" name="Picture 9">
            <a:extLst>
              <a:ext uri="{FF2B5EF4-FFF2-40B4-BE49-F238E27FC236}">
                <a16:creationId xmlns:a16="http://schemas.microsoft.com/office/drawing/2014/main" id="{B0D97D21-D5C4-9A59-B756-F08560031497}"/>
              </a:ext>
            </a:extLst>
          </p:cNvPr>
          <p:cNvPicPr>
            <a:picLocks noChangeAspect="1"/>
          </p:cNvPicPr>
          <p:nvPr userDrawn="1"/>
        </p:nvPicPr>
        <p:blipFill>
          <a:blip r:embed="rId9" cstate="email">
            <a:extLst>
              <a:ext uri="{28A0092B-C50C-407E-A947-70E740481C1C}">
                <a14:useLocalDpi xmlns:a14="http://schemas.microsoft.com/office/drawing/2010/main" val="0"/>
              </a:ext>
            </a:extLst>
          </a:blip>
          <a:stretch>
            <a:fillRect/>
          </a:stretch>
        </p:blipFill>
        <p:spPr>
          <a:xfrm>
            <a:off x="288899" y="4698332"/>
            <a:ext cx="592836" cy="196596"/>
          </a:xfrm>
          <a:prstGeom prst="rect">
            <a:avLst/>
          </a:prstGeom>
        </p:spPr>
      </p:pic>
      <p:pic>
        <p:nvPicPr>
          <p:cNvPr id="11" name="Picture 10">
            <a:extLst>
              <a:ext uri="{FF2B5EF4-FFF2-40B4-BE49-F238E27FC236}">
                <a16:creationId xmlns:a16="http://schemas.microsoft.com/office/drawing/2014/main" id="{928EDDE9-9137-BD8C-4DE2-0DBC47DCE5FB}"/>
              </a:ext>
            </a:extLst>
          </p:cNvPr>
          <p:cNvPicPr>
            <a:picLocks noChangeAspect="1"/>
          </p:cNvPicPr>
          <p:nvPr userDrawn="1"/>
        </p:nvPicPr>
        <p:blipFill>
          <a:blip r:embed="rId10"/>
          <a:stretch>
            <a:fillRect/>
          </a:stretch>
        </p:blipFill>
        <p:spPr>
          <a:xfrm>
            <a:off x="287703" y="5476257"/>
            <a:ext cx="633790" cy="396119"/>
          </a:xfrm>
          <a:prstGeom prst="rect">
            <a:avLst/>
          </a:prstGeom>
        </p:spPr>
      </p:pic>
      <p:pic>
        <p:nvPicPr>
          <p:cNvPr id="12" name="Picture 11">
            <a:extLst>
              <a:ext uri="{FF2B5EF4-FFF2-40B4-BE49-F238E27FC236}">
                <a16:creationId xmlns:a16="http://schemas.microsoft.com/office/drawing/2014/main" id="{DED70638-64A3-E6E4-9F79-BDA22701787A}"/>
              </a:ext>
            </a:extLst>
          </p:cNvPr>
          <p:cNvPicPr>
            <a:picLocks noChangeAspect="1"/>
          </p:cNvPicPr>
          <p:nvPr userDrawn="1"/>
        </p:nvPicPr>
        <p:blipFill>
          <a:blip r:embed="rId11" cstate="hqprint">
            <a:extLst>
              <a:ext uri="{28A0092B-C50C-407E-A947-70E740481C1C}">
                <a14:useLocalDpi xmlns:a14="http://schemas.microsoft.com/office/drawing/2010/main"/>
              </a:ext>
            </a:extLst>
          </a:blip>
          <a:stretch>
            <a:fillRect/>
          </a:stretch>
        </p:blipFill>
        <p:spPr>
          <a:xfrm>
            <a:off x="1213955" y="3158657"/>
            <a:ext cx="396152" cy="366468"/>
          </a:xfrm>
          <a:prstGeom prst="rect">
            <a:avLst/>
          </a:prstGeom>
        </p:spPr>
      </p:pic>
      <p:pic>
        <p:nvPicPr>
          <p:cNvPr id="13" name="Picture 12">
            <a:extLst>
              <a:ext uri="{FF2B5EF4-FFF2-40B4-BE49-F238E27FC236}">
                <a16:creationId xmlns:a16="http://schemas.microsoft.com/office/drawing/2014/main" id="{B40B8C71-9E4A-38B7-5406-6E00917DA2DC}"/>
              </a:ext>
            </a:extLst>
          </p:cNvPr>
          <p:cNvPicPr>
            <a:picLocks noChangeAspect="1"/>
          </p:cNvPicPr>
          <p:nvPr userDrawn="1"/>
        </p:nvPicPr>
        <p:blipFill>
          <a:blip r:embed="rId12"/>
          <a:stretch>
            <a:fillRect/>
          </a:stretch>
        </p:blipFill>
        <p:spPr>
          <a:xfrm>
            <a:off x="324830" y="4088565"/>
            <a:ext cx="718857" cy="345045"/>
          </a:xfrm>
          <a:prstGeom prst="rect">
            <a:avLst/>
          </a:prstGeom>
        </p:spPr>
      </p:pic>
      <p:pic>
        <p:nvPicPr>
          <p:cNvPr id="14" name="Picture 13">
            <a:extLst>
              <a:ext uri="{FF2B5EF4-FFF2-40B4-BE49-F238E27FC236}">
                <a16:creationId xmlns:a16="http://schemas.microsoft.com/office/drawing/2014/main" id="{983AC33F-8F81-0DD6-930C-F3AC510A071E}"/>
              </a:ext>
            </a:extLst>
          </p:cNvPr>
          <p:cNvPicPr>
            <a:picLocks noChangeAspect="1"/>
          </p:cNvPicPr>
          <p:nvPr userDrawn="1"/>
        </p:nvPicPr>
        <p:blipFill>
          <a:blip r:embed="rId13"/>
          <a:stretch>
            <a:fillRect/>
          </a:stretch>
        </p:blipFill>
        <p:spPr>
          <a:xfrm>
            <a:off x="216480" y="2964886"/>
            <a:ext cx="762321" cy="358625"/>
          </a:xfrm>
          <a:prstGeom prst="rect">
            <a:avLst/>
          </a:prstGeom>
        </p:spPr>
      </p:pic>
      <p:pic>
        <p:nvPicPr>
          <p:cNvPr id="15" name="Picture 14">
            <a:extLst>
              <a:ext uri="{FF2B5EF4-FFF2-40B4-BE49-F238E27FC236}">
                <a16:creationId xmlns:a16="http://schemas.microsoft.com/office/drawing/2014/main" id="{ADDD5D35-CFB5-E798-1FB7-90824BF4F33F}"/>
              </a:ext>
            </a:extLst>
          </p:cNvPr>
          <p:cNvPicPr>
            <a:picLocks noChangeAspect="1"/>
          </p:cNvPicPr>
          <p:nvPr userDrawn="1"/>
        </p:nvPicPr>
        <p:blipFill>
          <a:blip r:embed="rId14"/>
          <a:stretch>
            <a:fillRect/>
          </a:stretch>
        </p:blipFill>
        <p:spPr>
          <a:xfrm>
            <a:off x="205062" y="1981362"/>
            <a:ext cx="833968" cy="305962"/>
          </a:xfrm>
          <a:prstGeom prst="rect">
            <a:avLst/>
          </a:prstGeom>
        </p:spPr>
      </p:pic>
      <p:pic>
        <p:nvPicPr>
          <p:cNvPr id="16" name="Graphic 15">
            <a:extLst>
              <a:ext uri="{FF2B5EF4-FFF2-40B4-BE49-F238E27FC236}">
                <a16:creationId xmlns:a16="http://schemas.microsoft.com/office/drawing/2014/main" id="{453F3298-009E-9C25-146E-637B1A85BA5A}"/>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1010054" y="4959290"/>
            <a:ext cx="819253" cy="155658"/>
          </a:xfrm>
          <a:prstGeom prst="rect">
            <a:avLst/>
          </a:prstGeom>
        </p:spPr>
      </p:pic>
      <p:pic>
        <p:nvPicPr>
          <p:cNvPr id="17" name="Graphic 16">
            <a:extLst>
              <a:ext uri="{FF2B5EF4-FFF2-40B4-BE49-F238E27FC236}">
                <a16:creationId xmlns:a16="http://schemas.microsoft.com/office/drawing/2014/main" id="{F67D797F-3DAA-DA4C-C2E8-64287730C811}"/>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1116101" y="3678056"/>
            <a:ext cx="606064" cy="233102"/>
          </a:xfrm>
          <a:prstGeom prst="rect">
            <a:avLst/>
          </a:prstGeom>
        </p:spPr>
      </p:pic>
    </p:spTree>
    <p:extLst>
      <p:ext uri="{BB962C8B-B14F-4D97-AF65-F5344CB8AC3E}">
        <p14:creationId xmlns:p14="http://schemas.microsoft.com/office/powerpoint/2010/main" val="4079870387"/>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2.jp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DB3CAF3-C762-534F-ADB5-DB2B0740A3D0}"/>
              </a:ext>
            </a:extLst>
          </p:cNvPr>
          <p:cNvGraphicFramePr>
            <a:graphicFrameLocks noChangeAspect="1"/>
          </p:cNvGraphicFramePr>
          <p:nvPr userDrawn="1">
            <p:custDataLst>
              <p:tags r:id="rId6"/>
            </p:custDataLst>
            <p:extLst>
              <p:ext uri="{D42A27DB-BD31-4B8C-83A1-F6EECF244321}">
                <p14:modId xmlns:p14="http://schemas.microsoft.com/office/powerpoint/2010/main" val="4954688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6" name="Object 5" hidden="1">
                        <a:extLst>
                          <a:ext uri="{FF2B5EF4-FFF2-40B4-BE49-F238E27FC236}">
                            <a16:creationId xmlns:a16="http://schemas.microsoft.com/office/drawing/2014/main" id="{1DB3CAF3-C762-534F-ADB5-DB2B0740A3D0}"/>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05AA23E-9F3B-4705-91CC-5E7E5423DC71}"/>
              </a:ext>
            </a:extLst>
          </p:cNvPr>
          <p:cNvPicPr>
            <a:picLocks noChangeAspect="1"/>
          </p:cNvPicPr>
          <p:nvPr userDrawn="1"/>
        </p:nvPicPr>
        <p:blipFill>
          <a:blip r:embed="rId9"/>
          <a:stretch>
            <a:fillRect/>
          </a:stretch>
        </p:blipFill>
        <p:spPr>
          <a:xfrm>
            <a:off x="0" y="0"/>
            <a:ext cx="9906000" cy="835819"/>
          </a:xfrm>
          <a:prstGeom prst="rect">
            <a:avLst/>
          </a:prstGeom>
        </p:spPr>
      </p:pic>
      <p:sp>
        <p:nvSpPr>
          <p:cNvPr id="2" name="Espace réservé du numéro de diapositive 1"/>
          <p:cNvSpPr>
            <a:spLocks noGrp="1"/>
          </p:cNvSpPr>
          <p:nvPr>
            <p:ph type="sldNum" sz="quarter" idx="4"/>
          </p:nvPr>
        </p:nvSpPr>
        <p:spPr>
          <a:xfrm>
            <a:off x="9148969" y="6553200"/>
            <a:ext cx="665523"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dirty="0"/>
          </a:p>
        </p:txBody>
      </p:sp>
      <p:sp>
        <p:nvSpPr>
          <p:cNvPr id="5" name="Title Placeholder 4"/>
          <p:cNvSpPr>
            <a:spLocks noGrp="1"/>
          </p:cNvSpPr>
          <p:nvPr>
            <p:ph type="title"/>
          </p:nvPr>
        </p:nvSpPr>
        <p:spPr>
          <a:xfrm>
            <a:off x="540000" y="108000"/>
            <a:ext cx="8543925" cy="336550"/>
          </a:xfrm>
          <a:prstGeom prst="rect">
            <a:avLst/>
          </a:prstGeom>
        </p:spPr>
        <p:txBody>
          <a:bodyPr vert="horz" lIns="72000" tIns="36000" rIns="72000" bIns="36000" rtlCol="0" anchor="t">
            <a:noAutofit/>
          </a:bodyPr>
          <a:lstStyle/>
          <a:p>
            <a:pPr lvl="0"/>
            <a:r>
              <a:rPr lang="en-US" dirty="0"/>
              <a:t>Click to edit Master title style</a:t>
            </a:r>
            <a:endParaRPr lang="nl-NL" dirty="0"/>
          </a:p>
        </p:txBody>
      </p:sp>
      <p:sp>
        <p:nvSpPr>
          <p:cNvPr id="3" name="Text Placeholder 2"/>
          <p:cNvSpPr>
            <a:spLocks noGrp="1"/>
          </p:cNvSpPr>
          <p:nvPr>
            <p:ph type="body" idx="1"/>
          </p:nvPr>
        </p:nvSpPr>
        <p:spPr>
          <a:xfrm>
            <a:off x="539999" y="1080000"/>
            <a:ext cx="9000000" cy="4351338"/>
          </a:xfrm>
          <a:prstGeom prst="rect">
            <a:avLst/>
          </a:prstGeom>
        </p:spPr>
        <p:txBody>
          <a:bodyPr vert="horz" lIns="91440" tIns="45720" rIns="91440" bIns="45720" rtlCol="0">
            <a:noAutofit/>
          </a:bodyPr>
          <a:lstStyle/>
          <a:p>
            <a:pPr lvl="0"/>
            <a:r>
              <a:rPr lang="en-US" dirty="0"/>
              <a:t>Edit Master text styles</a:t>
            </a:r>
          </a:p>
          <a:p>
            <a:pPr lvl="1"/>
            <a:r>
              <a:rPr lang="en-US" dirty="0"/>
              <a:t>[Add text]</a:t>
            </a:r>
          </a:p>
          <a:p>
            <a:pPr lvl="2"/>
            <a:r>
              <a:rPr lang="en-US" dirty="0"/>
              <a:t>[Add text]</a:t>
            </a:r>
          </a:p>
          <a:p>
            <a:pPr lvl="3"/>
            <a:r>
              <a:rPr lang="en-US" dirty="0"/>
              <a:t>[Add text]</a:t>
            </a:r>
          </a:p>
        </p:txBody>
      </p:sp>
      <p:grpSp>
        <p:nvGrpSpPr>
          <p:cNvPr id="45" name="Graphic 3">
            <a:extLst>
              <a:ext uri="{FF2B5EF4-FFF2-40B4-BE49-F238E27FC236}">
                <a16:creationId xmlns:a16="http://schemas.microsoft.com/office/drawing/2014/main" id="{56B033C0-3928-468B-8CF6-1496F52E0712}"/>
              </a:ext>
            </a:extLst>
          </p:cNvPr>
          <p:cNvGrpSpPr>
            <a:grpSpLocks noChangeAspect="1"/>
          </p:cNvGrpSpPr>
          <p:nvPr userDrawn="1"/>
        </p:nvGrpSpPr>
        <p:grpSpPr>
          <a:xfrm>
            <a:off x="8928000" y="20857"/>
            <a:ext cx="857650" cy="792366"/>
            <a:chOff x="66025" y="-34306"/>
            <a:chExt cx="6381750" cy="5895975"/>
          </a:xfrm>
        </p:grpSpPr>
        <p:sp>
          <p:nvSpPr>
            <p:cNvPr id="47" name="Freeform: Shape 46">
              <a:extLst>
                <a:ext uri="{FF2B5EF4-FFF2-40B4-BE49-F238E27FC236}">
                  <a16:creationId xmlns:a16="http://schemas.microsoft.com/office/drawing/2014/main" id="{8FFBD3D4-4671-45AB-B604-0CEAAC63B7C9}"/>
                </a:ext>
              </a:extLst>
            </p:cNvPr>
            <p:cNvSpPr/>
            <p:nvPr/>
          </p:nvSpPr>
          <p:spPr>
            <a:xfrm>
              <a:off x="5751687" y="4420250"/>
              <a:ext cx="484155" cy="202882"/>
            </a:xfrm>
            <a:custGeom>
              <a:avLst/>
              <a:gdLst>
                <a:gd name="connsiteX0" fmla="*/ 426530 w 484155"/>
                <a:gd name="connsiteY0" fmla="*/ 0 h 202882"/>
                <a:gd name="connsiteX1" fmla="*/ 396050 w 484155"/>
                <a:gd name="connsiteY1" fmla="*/ 0 h 202882"/>
                <a:gd name="connsiteX2" fmla="*/ 0 w 484155"/>
                <a:gd name="connsiteY2" fmla="*/ 95 h 202882"/>
                <a:gd name="connsiteX3" fmla="*/ 0 w 484155"/>
                <a:gd name="connsiteY3" fmla="*/ 196596 h 202882"/>
                <a:gd name="connsiteX4" fmla="*/ 476 w 484155"/>
                <a:gd name="connsiteY4" fmla="*/ 202882 h 202882"/>
                <a:gd name="connsiteX5" fmla="*/ 69152 w 484155"/>
                <a:gd name="connsiteY5" fmla="*/ 135255 h 202882"/>
                <a:gd name="connsiteX6" fmla="*/ 426530 w 484155"/>
                <a:gd name="connsiteY6" fmla="*/ 135350 h 202882"/>
                <a:gd name="connsiteX7" fmla="*/ 484156 w 484155"/>
                <a:gd name="connsiteY7" fmla="*/ 77724 h 202882"/>
                <a:gd name="connsiteX8" fmla="*/ 484156 w 484155"/>
                <a:gd name="connsiteY8" fmla="*/ 57721 h 202882"/>
                <a:gd name="connsiteX9" fmla="*/ 426530 w 484155"/>
                <a:gd name="connsiteY9" fmla="*/ 0 h 20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155" h="202882">
                  <a:moveTo>
                    <a:pt x="426530" y="0"/>
                  </a:moveTo>
                  <a:lnTo>
                    <a:pt x="396050" y="0"/>
                  </a:lnTo>
                  <a:cubicBezTo>
                    <a:pt x="63913" y="0"/>
                    <a:pt x="40767" y="0"/>
                    <a:pt x="0" y="95"/>
                  </a:cubicBezTo>
                  <a:lnTo>
                    <a:pt x="0" y="196596"/>
                  </a:lnTo>
                  <a:cubicBezTo>
                    <a:pt x="571" y="196977"/>
                    <a:pt x="476" y="199930"/>
                    <a:pt x="476" y="202882"/>
                  </a:cubicBezTo>
                  <a:cubicBezTo>
                    <a:pt x="476" y="170497"/>
                    <a:pt x="7334" y="135255"/>
                    <a:pt x="69152" y="135255"/>
                  </a:cubicBezTo>
                  <a:lnTo>
                    <a:pt x="426530" y="135350"/>
                  </a:lnTo>
                  <a:cubicBezTo>
                    <a:pt x="458248" y="135350"/>
                    <a:pt x="484156" y="109442"/>
                    <a:pt x="484156" y="77724"/>
                  </a:cubicBezTo>
                  <a:lnTo>
                    <a:pt x="484156" y="57721"/>
                  </a:lnTo>
                  <a:cubicBezTo>
                    <a:pt x="484156" y="25908"/>
                    <a:pt x="458153" y="0"/>
                    <a:pt x="426530" y="0"/>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48" name="Freeform: Shape 47">
              <a:extLst>
                <a:ext uri="{FF2B5EF4-FFF2-40B4-BE49-F238E27FC236}">
                  <a16:creationId xmlns:a16="http://schemas.microsoft.com/office/drawing/2014/main" id="{70E968C3-6094-4563-9C29-65EB27A50039}"/>
                </a:ext>
              </a:extLst>
            </p:cNvPr>
            <p:cNvSpPr/>
            <p:nvPr/>
          </p:nvSpPr>
          <p:spPr>
            <a:xfrm>
              <a:off x="4971686" y="52273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49" name="Freeform: Shape 48">
              <a:extLst>
                <a:ext uri="{FF2B5EF4-FFF2-40B4-BE49-F238E27FC236}">
                  <a16:creationId xmlns:a16="http://schemas.microsoft.com/office/drawing/2014/main" id="{55A31E9F-A94F-45F8-BF93-D84A8C6DA807}"/>
                </a:ext>
              </a:extLst>
            </p:cNvPr>
            <p:cNvSpPr/>
            <p:nvPr/>
          </p:nvSpPr>
          <p:spPr>
            <a:xfrm>
              <a:off x="4507341" y="448711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0" name="Freeform: Shape 49">
              <a:extLst>
                <a:ext uri="{FF2B5EF4-FFF2-40B4-BE49-F238E27FC236}">
                  <a16:creationId xmlns:a16="http://schemas.microsoft.com/office/drawing/2014/main" id="{C2DB8481-8B23-479A-9514-240E6508D49C}"/>
                </a:ext>
              </a:extLst>
            </p:cNvPr>
            <p:cNvSpPr/>
            <p:nvPr/>
          </p:nvSpPr>
          <p:spPr>
            <a:xfrm>
              <a:off x="4659360" y="479953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1" name="Freeform: Shape 50">
              <a:extLst>
                <a:ext uri="{FF2B5EF4-FFF2-40B4-BE49-F238E27FC236}">
                  <a16:creationId xmlns:a16="http://schemas.microsoft.com/office/drawing/2014/main" id="{20BC56EA-7519-4612-A39E-81EBB7DD740C}"/>
                </a:ext>
              </a:extLst>
            </p:cNvPr>
            <p:cNvSpPr/>
            <p:nvPr/>
          </p:nvSpPr>
          <p:spPr>
            <a:xfrm>
              <a:off x="4806046" y="50789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2" name="Freeform: Shape 51">
              <a:extLst>
                <a:ext uri="{FF2B5EF4-FFF2-40B4-BE49-F238E27FC236}">
                  <a16:creationId xmlns:a16="http://schemas.microsoft.com/office/drawing/2014/main" id="{63C56C61-7E4E-4C7A-8C28-8EC4584AD35D}"/>
                </a:ext>
              </a:extLst>
            </p:cNvPr>
            <p:cNvSpPr/>
            <p:nvPr/>
          </p:nvSpPr>
          <p:spPr>
            <a:xfrm>
              <a:off x="539988" y="2223595"/>
              <a:ext cx="151257" cy="159829"/>
            </a:xfrm>
            <a:custGeom>
              <a:avLst/>
              <a:gdLst>
                <a:gd name="connsiteX0" fmla="*/ 151257 w 151257"/>
                <a:gd name="connsiteY0" fmla="*/ 159829 h 159829"/>
                <a:gd name="connsiteX1" fmla="*/ 151257 w 151257"/>
                <a:gd name="connsiteY1" fmla="*/ 83439 h 159829"/>
                <a:gd name="connsiteX2" fmla="*/ 67818 w 151257"/>
                <a:gd name="connsiteY2" fmla="*/ 0 h 159829"/>
                <a:gd name="connsiteX3" fmla="*/ 0 w 151257"/>
                <a:gd name="connsiteY3" fmla="*/ 0 h 159829"/>
                <a:gd name="connsiteX4" fmla="*/ 0 w 151257"/>
                <a:gd name="connsiteY4" fmla="*/ 76391 h 159829"/>
                <a:gd name="connsiteX5" fmla="*/ 83439 w 151257"/>
                <a:gd name="connsiteY5" fmla="*/ 159829 h 159829"/>
                <a:gd name="connsiteX6" fmla="*/ 151257 w 151257"/>
                <a:gd name="connsiteY6" fmla="*/ 159829 h 15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257" h="159829">
                  <a:moveTo>
                    <a:pt x="151257" y="159829"/>
                  </a:moveTo>
                  <a:lnTo>
                    <a:pt x="151257" y="83439"/>
                  </a:lnTo>
                  <a:cubicBezTo>
                    <a:pt x="151257" y="37529"/>
                    <a:pt x="113729" y="0"/>
                    <a:pt x="67818" y="0"/>
                  </a:cubicBezTo>
                  <a:lnTo>
                    <a:pt x="0" y="0"/>
                  </a:lnTo>
                  <a:lnTo>
                    <a:pt x="0" y="76391"/>
                  </a:lnTo>
                  <a:cubicBezTo>
                    <a:pt x="0" y="122301"/>
                    <a:pt x="37529" y="159829"/>
                    <a:pt x="83439" y="159829"/>
                  </a:cubicBezTo>
                  <a:lnTo>
                    <a:pt x="151257" y="159829"/>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3" name="Freeform: Shape 52">
              <a:extLst>
                <a:ext uri="{FF2B5EF4-FFF2-40B4-BE49-F238E27FC236}">
                  <a16:creationId xmlns:a16="http://schemas.microsoft.com/office/drawing/2014/main" id="{4805347C-EEE8-4911-8713-96A3756D3ABD}"/>
                </a:ext>
              </a:extLst>
            </p:cNvPr>
            <p:cNvSpPr/>
            <p:nvPr/>
          </p:nvSpPr>
          <p:spPr>
            <a:xfrm>
              <a:off x="243761" y="2223595"/>
              <a:ext cx="447484" cy="566261"/>
            </a:xfrm>
            <a:custGeom>
              <a:avLst/>
              <a:gdLst>
                <a:gd name="connsiteX0" fmla="*/ 83344 w 447484"/>
                <a:gd name="connsiteY0" fmla="*/ 566261 h 566261"/>
                <a:gd name="connsiteX1" fmla="*/ 364046 w 447484"/>
                <a:gd name="connsiteY1" fmla="*/ 566261 h 566261"/>
                <a:gd name="connsiteX2" fmla="*/ 447485 w 447484"/>
                <a:gd name="connsiteY2" fmla="*/ 482822 h 566261"/>
                <a:gd name="connsiteX3" fmla="*/ 447485 w 447484"/>
                <a:gd name="connsiteY3" fmla="*/ 240316 h 566261"/>
                <a:gd name="connsiteX4" fmla="*/ 447485 w 447484"/>
                <a:gd name="connsiteY4" fmla="*/ 159829 h 566261"/>
                <a:gd name="connsiteX5" fmla="*/ 379667 w 447484"/>
                <a:gd name="connsiteY5" fmla="*/ 159829 h 566261"/>
                <a:gd name="connsiteX6" fmla="*/ 375952 w 447484"/>
                <a:gd name="connsiteY6" fmla="*/ 159829 h 566261"/>
                <a:gd name="connsiteX7" fmla="*/ 372999 w 447484"/>
                <a:gd name="connsiteY7" fmla="*/ 159544 h 566261"/>
                <a:gd name="connsiteX8" fmla="*/ 296228 w 447484"/>
                <a:gd name="connsiteY8" fmla="*/ 76391 h 566261"/>
                <a:gd name="connsiteX9" fmla="*/ 296228 w 447484"/>
                <a:gd name="connsiteY9" fmla="*/ 0 h 566261"/>
                <a:gd name="connsiteX10" fmla="*/ 237458 w 447484"/>
                <a:gd name="connsiteY10" fmla="*/ 0 h 566261"/>
                <a:gd name="connsiteX11" fmla="*/ 156496 w 447484"/>
                <a:gd name="connsiteY11" fmla="*/ 78676 h 566261"/>
                <a:gd name="connsiteX12" fmla="*/ 77153 w 447484"/>
                <a:gd name="connsiteY12" fmla="*/ 159639 h 566261"/>
                <a:gd name="connsiteX13" fmla="*/ 0 w 447484"/>
                <a:gd name="connsiteY13" fmla="*/ 240506 h 566261"/>
                <a:gd name="connsiteX14" fmla="*/ 0 w 447484"/>
                <a:gd name="connsiteY14" fmla="*/ 482632 h 566261"/>
                <a:gd name="connsiteX15" fmla="*/ 83344 w 447484"/>
                <a:gd name="connsiteY15" fmla="*/ 566261 h 56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484" h="566261">
                  <a:moveTo>
                    <a:pt x="83344" y="566261"/>
                  </a:moveTo>
                  <a:lnTo>
                    <a:pt x="364046" y="566261"/>
                  </a:lnTo>
                  <a:cubicBezTo>
                    <a:pt x="409956" y="566261"/>
                    <a:pt x="447485" y="528733"/>
                    <a:pt x="447485" y="482822"/>
                  </a:cubicBezTo>
                  <a:lnTo>
                    <a:pt x="447485" y="240316"/>
                  </a:lnTo>
                  <a:lnTo>
                    <a:pt x="447485" y="159829"/>
                  </a:lnTo>
                  <a:lnTo>
                    <a:pt x="379667" y="159829"/>
                  </a:lnTo>
                  <a:cubicBezTo>
                    <a:pt x="378428" y="159829"/>
                    <a:pt x="377190" y="159829"/>
                    <a:pt x="375952" y="159829"/>
                  </a:cubicBezTo>
                  <a:cubicBezTo>
                    <a:pt x="374999" y="159734"/>
                    <a:pt x="373951" y="159639"/>
                    <a:pt x="372999" y="159544"/>
                  </a:cubicBezTo>
                  <a:cubicBezTo>
                    <a:pt x="330232" y="156115"/>
                    <a:pt x="296228" y="120015"/>
                    <a:pt x="296228" y="76391"/>
                  </a:cubicBezTo>
                  <a:lnTo>
                    <a:pt x="296228" y="0"/>
                  </a:lnTo>
                  <a:lnTo>
                    <a:pt x="237458" y="0"/>
                  </a:lnTo>
                  <a:cubicBezTo>
                    <a:pt x="193643" y="0"/>
                    <a:pt x="157734" y="34957"/>
                    <a:pt x="156496" y="78676"/>
                  </a:cubicBezTo>
                  <a:cubicBezTo>
                    <a:pt x="155258" y="122110"/>
                    <a:pt x="120396" y="157543"/>
                    <a:pt x="77153" y="159639"/>
                  </a:cubicBezTo>
                  <a:cubicBezTo>
                    <a:pt x="33909" y="161734"/>
                    <a:pt x="0" y="197263"/>
                    <a:pt x="0" y="240506"/>
                  </a:cubicBezTo>
                  <a:lnTo>
                    <a:pt x="0" y="482632"/>
                  </a:lnTo>
                  <a:cubicBezTo>
                    <a:pt x="0" y="528733"/>
                    <a:pt x="37529" y="566261"/>
                    <a:pt x="83344" y="566261"/>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4" name="Freeform: Shape 53">
              <a:extLst>
                <a:ext uri="{FF2B5EF4-FFF2-40B4-BE49-F238E27FC236}">
                  <a16:creationId xmlns:a16="http://schemas.microsoft.com/office/drawing/2014/main" id="{FB9ADC9D-67CE-485B-9843-09372F3614C1}"/>
                </a:ext>
              </a:extLst>
            </p:cNvPr>
            <p:cNvSpPr/>
            <p:nvPr/>
          </p:nvSpPr>
          <p:spPr>
            <a:xfrm>
              <a:off x="718392" y="1652285"/>
              <a:ext cx="1079087" cy="1436369"/>
            </a:xfrm>
            <a:custGeom>
              <a:avLst/>
              <a:gdLst>
                <a:gd name="connsiteX0" fmla="*/ 235363 w 1079087"/>
                <a:gd name="connsiteY0" fmla="*/ 707612 h 1436369"/>
                <a:gd name="connsiteX1" fmla="*/ 366617 w 1079087"/>
                <a:gd name="connsiteY1" fmla="*/ 707612 h 1436369"/>
                <a:gd name="connsiteX2" fmla="*/ 373856 w 1079087"/>
                <a:gd name="connsiteY2" fmla="*/ 707326 h 1436369"/>
                <a:gd name="connsiteX3" fmla="*/ 387953 w 1079087"/>
                <a:gd name="connsiteY3" fmla="*/ 707326 h 1436369"/>
                <a:gd name="connsiteX4" fmla="*/ 388906 w 1079087"/>
                <a:gd name="connsiteY4" fmla="*/ 707422 h 1436369"/>
                <a:gd name="connsiteX5" fmla="*/ 463772 w 1079087"/>
                <a:gd name="connsiteY5" fmla="*/ 788194 h 1436369"/>
                <a:gd name="connsiteX6" fmla="*/ 463772 w 1079087"/>
                <a:gd name="connsiteY6" fmla="*/ 789527 h 1436369"/>
                <a:gd name="connsiteX7" fmla="*/ 386239 w 1079087"/>
                <a:gd name="connsiteY7" fmla="*/ 870490 h 1436369"/>
                <a:gd name="connsiteX8" fmla="*/ 306896 w 1079087"/>
                <a:gd name="connsiteY8" fmla="*/ 945166 h 1436369"/>
                <a:gd name="connsiteX9" fmla="*/ 226314 w 1079087"/>
                <a:gd name="connsiteY9" fmla="*/ 1017746 h 1436369"/>
                <a:gd name="connsiteX10" fmla="*/ 206407 w 1079087"/>
                <a:gd name="connsiteY10" fmla="*/ 1017746 h 1436369"/>
                <a:gd name="connsiteX11" fmla="*/ 146495 w 1079087"/>
                <a:gd name="connsiteY11" fmla="*/ 1077658 h 1436369"/>
                <a:gd name="connsiteX12" fmla="*/ 146495 w 1079087"/>
                <a:gd name="connsiteY12" fmla="*/ 1083850 h 1436369"/>
                <a:gd name="connsiteX13" fmla="*/ 206407 w 1079087"/>
                <a:gd name="connsiteY13" fmla="*/ 1143762 h 1436369"/>
                <a:gd name="connsiteX14" fmla="*/ 225362 w 1079087"/>
                <a:gd name="connsiteY14" fmla="*/ 1143762 h 1436369"/>
                <a:gd name="connsiteX15" fmla="*/ 306324 w 1079087"/>
                <a:gd name="connsiteY15" fmla="*/ 1224724 h 1436369"/>
                <a:gd name="connsiteX16" fmla="*/ 306324 w 1079087"/>
                <a:gd name="connsiteY16" fmla="*/ 1229392 h 1436369"/>
                <a:gd name="connsiteX17" fmla="*/ 225362 w 1079087"/>
                <a:gd name="connsiteY17" fmla="*/ 1310354 h 1436369"/>
                <a:gd name="connsiteX18" fmla="*/ 59912 w 1079087"/>
                <a:gd name="connsiteY18" fmla="*/ 1310354 h 1436369"/>
                <a:gd name="connsiteX19" fmla="*/ 0 w 1079087"/>
                <a:gd name="connsiteY19" fmla="*/ 1370266 h 1436369"/>
                <a:gd name="connsiteX20" fmla="*/ 0 w 1079087"/>
                <a:gd name="connsiteY20" fmla="*/ 1376458 h 1436369"/>
                <a:gd name="connsiteX21" fmla="*/ 59912 w 1079087"/>
                <a:gd name="connsiteY21" fmla="*/ 1436370 h 1436369"/>
                <a:gd name="connsiteX22" fmla="*/ 389954 w 1079087"/>
                <a:gd name="connsiteY22" fmla="*/ 1436370 h 1436369"/>
                <a:gd name="connsiteX23" fmla="*/ 397764 w 1079087"/>
                <a:gd name="connsiteY23" fmla="*/ 1436370 h 1436369"/>
                <a:gd name="connsiteX24" fmla="*/ 521208 w 1079087"/>
                <a:gd name="connsiteY24" fmla="*/ 1436370 h 1436369"/>
                <a:gd name="connsiteX25" fmla="*/ 603980 w 1079087"/>
                <a:gd name="connsiteY25" fmla="*/ 1363218 h 1436369"/>
                <a:gd name="connsiteX26" fmla="*/ 684371 w 1079087"/>
                <a:gd name="connsiteY26" fmla="*/ 1292162 h 1436369"/>
                <a:gd name="connsiteX27" fmla="*/ 838390 w 1079087"/>
                <a:gd name="connsiteY27" fmla="*/ 1292162 h 1436369"/>
                <a:gd name="connsiteX28" fmla="*/ 920782 w 1079087"/>
                <a:gd name="connsiteY28" fmla="*/ 1221581 h 1436369"/>
                <a:gd name="connsiteX29" fmla="*/ 998315 w 1079087"/>
                <a:gd name="connsiteY29" fmla="*/ 1153192 h 1436369"/>
                <a:gd name="connsiteX30" fmla="*/ 1079087 w 1079087"/>
                <a:gd name="connsiteY30" fmla="*/ 1069848 h 1436369"/>
                <a:gd name="connsiteX31" fmla="*/ 1079087 w 1079087"/>
                <a:gd name="connsiteY31" fmla="*/ 956310 h 1436369"/>
                <a:gd name="connsiteX32" fmla="*/ 998792 w 1079087"/>
                <a:gd name="connsiteY32" fmla="*/ 872966 h 1436369"/>
                <a:gd name="connsiteX33" fmla="*/ 921258 w 1079087"/>
                <a:gd name="connsiteY33" fmla="*/ 800672 h 1436369"/>
                <a:gd name="connsiteX34" fmla="*/ 840581 w 1079087"/>
                <a:gd name="connsiteY34" fmla="*/ 726186 h 1436369"/>
                <a:gd name="connsiteX35" fmla="*/ 761810 w 1079087"/>
                <a:gd name="connsiteY35" fmla="*/ 645223 h 1436369"/>
                <a:gd name="connsiteX36" fmla="*/ 761810 w 1079087"/>
                <a:gd name="connsiteY36" fmla="*/ 515969 h 1436369"/>
                <a:gd name="connsiteX37" fmla="*/ 684657 w 1079087"/>
                <a:gd name="connsiteY37" fmla="*/ 432816 h 1436369"/>
                <a:gd name="connsiteX38" fmla="*/ 609695 w 1079087"/>
                <a:gd name="connsiteY38" fmla="*/ 352044 h 1436369"/>
                <a:gd name="connsiteX39" fmla="*/ 609695 w 1079087"/>
                <a:gd name="connsiteY39" fmla="*/ 224980 h 1436369"/>
                <a:gd name="connsiteX40" fmla="*/ 527780 w 1079087"/>
                <a:gd name="connsiteY40" fmla="*/ 141541 h 1436369"/>
                <a:gd name="connsiteX41" fmla="*/ 449009 w 1079087"/>
                <a:gd name="connsiteY41" fmla="*/ 71818 h 1436369"/>
                <a:gd name="connsiteX42" fmla="*/ 366427 w 1079087"/>
                <a:gd name="connsiteY42" fmla="*/ 0 h 1436369"/>
                <a:gd name="connsiteX43" fmla="*/ 235363 w 1079087"/>
                <a:gd name="connsiteY43" fmla="*/ 0 h 1436369"/>
                <a:gd name="connsiteX44" fmla="*/ 151924 w 1079087"/>
                <a:gd name="connsiteY44" fmla="*/ 83439 h 1436369"/>
                <a:gd name="connsiteX45" fmla="*/ 151924 w 1079087"/>
                <a:gd name="connsiteY45" fmla="*/ 624268 h 1436369"/>
                <a:gd name="connsiteX46" fmla="*/ 235363 w 1079087"/>
                <a:gd name="connsiteY46" fmla="*/ 707612 h 14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79087" h="1436369">
                  <a:moveTo>
                    <a:pt x="235363" y="707612"/>
                  </a:moveTo>
                  <a:lnTo>
                    <a:pt x="366617" y="707612"/>
                  </a:lnTo>
                  <a:cubicBezTo>
                    <a:pt x="369094" y="707612"/>
                    <a:pt x="371475" y="707517"/>
                    <a:pt x="373856" y="707326"/>
                  </a:cubicBezTo>
                  <a:cubicBezTo>
                    <a:pt x="378809" y="706850"/>
                    <a:pt x="383000" y="706850"/>
                    <a:pt x="387953" y="707326"/>
                  </a:cubicBezTo>
                  <a:cubicBezTo>
                    <a:pt x="388239" y="707326"/>
                    <a:pt x="388620" y="707422"/>
                    <a:pt x="388906" y="707422"/>
                  </a:cubicBezTo>
                  <a:cubicBezTo>
                    <a:pt x="431292" y="710660"/>
                    <a:pt x="463772" y="745712"/>
                    <a:pt x="463772" y="788194"/>
                  </a:cubicBezTo>
                  <a:lnTo>
                    <a:pt x="463772" y="789527"/>
                  </a:lnTo>
                  <a:cubicBezTo>
                    <a:pt x="463772" y="832866"/>
                    <a:pt x="429578" y="868585"/>
                    <a:pt x="386239" y="870490"/>
                  </a:cubicBezTo>
                  <a:cubicBezTo>
                    <a:pt x="344900" y="872299"/>
                    <a:pt x="311182" y="904494"/>
                    <a:pt x="306896" y="945166"/>
                  </a:cubicBezTo>
                  <a:cubicBezTo>
                    <a:pt x="302514" y="986599"/>
                    <a:pt x="267938" y="1017746"/>
                    <a:pt x="226314" y="1017746"/>
                  </a:cubicBezTo>
                  <a:lnTo>
                    <a:pt x="206407" y="1017746"/>
                  </a:lnTo>
                  <a:cubicBezTo>
                    <a:pt x="173450" y="1017746"/>
                    <a:pt x="146495" y="1044702"/>
                    <a:pt x="146495" y="1077658"/>
                  </a:cubicBezTo>
                  <a:lnTo>
                    <a:pt x="146495" y="1083850"/>
                  </a:lnTo>
                  <a:cubicBezTo>
                    <a:pt x="146495" y="1116806"/>
                    <a:pt x="173450" y="1143762"/>
                    <a:pt x="206407" y="1143762"/>
                  </a:cubicBezTo>
                  <a:lnTo>
                    <a:pt x="225362" y="1143762"/>
                  </a:lnTo>
                  <a:cubicBezTo>
                    <a:pt x="269939" y="1143762"/>
                    <a:pt x="306324" y="1180148"/>
                    <a:pt x="306324" y="1224724"/>
                  </a:cubicBezTo>
                  <a:lnTo>
                    <a:pt x="306324" y="1229392"/>
                  </a:lnTo>
                  <a:cubicBezTo>
                    <a:pt x="306324" y="1273969"/>
                    <a:pt x="269939" y="1310354"/>
                    <a:pt x="225362" y="1310354"/>
                  </a:cubicBezTo>
                  <a:lnTo>
                    <a:pt x="59912" y="1310354"/>
                  </a:lnTo>
                  <a:cubicBezTo>
                    <a:pt x="26956" y="1310354"/>
                    <a:pt x="0" y="1337310"/>
                    <a:pt x="0" y="1370266"/>
                  </a:cubicBezTo>
                  <a:lnTo>
                    <a:pt x="0" y="1376458"/>
                  </a:lnTo>
                  <a:cubicBezTo>
                    <a:pt x="0" y="1409414"/>
                    <a:pt x="26956" y="1436370"/>
                    <a:pt x="59912" y="1436370"/>
                  </a:cubicBezTo>
                  <a:lnTo>
                    <a:pt x="389954" y="1436370"/>
                  </a:lnTo>
                  <a:lnTo>
                    <a:pt x="397764" y="1436370"/>
                  </a:lnTo>
                  <a:lnTo>
                    <a:pt x="521208" y="1436370"/>
                  </a:lnTo>
                  <a:cubicBezTo>
                    <a:pt x="563594" y="1436370"/>
                    <a:pt x="598932" y="1404271"/>
                    <a:pt x="603980" y="1363218"/>
                  </a:cubicBezTo>
                  <a:cubicBezTo>
                    <a:pt x="609028" y="1322451"/>
                    <a:pt x="643223" y="1292162"/>
                    <a:pt x="684371" y="1292162"/>
                  </a:cubicBezTo>
                  <a:lnTo>
                    <a:pt x="838390" y="1292162"/>
                  </a:lnTo>
                  <a:cubicBezTo>
                    <a:pt x="879920" y="1292162"/>
                    <a:pt x="914590" y="1261396"/>
                    <a:pt x="920782" y="1221581"/>
                  </a:cubicBezTo>
                  <a:cubicBezTo>
                    <a:pt x="926878" y="1182719"/>
                    <a:pt x="958977" y="1154335"/>
                    <a:pt x="998315" y="1153192"/>
                  </a:cubicBezTo>
                  <a:cubicBezTo>
                    <a:pt x="1042988" y="1151763"/>
                    <a:pt x="1079087" y="1114806"/>
                    <a:pt x="1079087" y="1069848"/>
                  </a:cubicBezTo>
                  <a:lnTo>
                    <a:pt x="1079087" y="956310"/>
                  </a:lnTo>
                  <a:cubicBezTo>
                    <a:pt x="1079087" y="911447"/>
                    <a:pt x="1043273" y="874586"/>
                    <a:pt x="998792" y="872966"/>
                  </a:cubicBezTo>
                  <a:cubicBezTo>
                    <a:pt x="958310" y="871442"/>
                    <a:pt x="925640" y="840962"/>
                    <a:pt x="921258" y="800672"/>
                  </a:cubicBezTo>
                  <a:cubicBezTo>
                    <a:pt x="916877" y="759619"/>
                    <a:pt x="882396" y="727329"/>
                    <a:pt x="840581" y="726186"/>
                  </a:cubicBezTo>
                  <a:cubicBezTo>
                    <a:pt x="796766" y="724948"/>
                    <a:pt x="761810" y="689038"/>
                    <a:pt x="761810" y="645223"/>
                  </a:cubicBezTo>
                  <a:lnTo>
                    <a:pt x="761810" y="515969"/>
                  </a:lnTo>
                  <a:cubicBezTo>
                    <a:pt x="761810" y="472154"/>
                    <a:pt x="727615" y="436055"/>
                    <a:pt x="684657" y="432816"/>
                  </a:cubicBezTo>
                  <a:cubicBezTo>
                    <a:pt x="642271" y="429577"/>
                    <a:pt x="609695" y="394525"/>
                    <a:pt x="609695" y="352044"/>
                  </a:cubicBezTo>
                  <a:lnTo>
                    <a:pt x="609695" y="224980"/>
                  </a:lnTo>
                  <a:cubicBezTo>
                    <a:pt x="609695" y="179641"/>
                    <a:pt x="572929" y="142399"/>
                    <a:pt x="527780" y="141541"/>
                  </a:cubicBezTo>
                  <a:cubicBezTo>
                    <a:pt x="487680" y="140875"/>
                    <a:pt x="454533" y="111538"/>
                    <a:pt x="449009" y="71818"/>
                  </a:cubicBezTo>
                  <a:cubicBezTo>
                    <a:pt x="443294" y="31337"/>
                    <a:pt x="408337" y="0"/>
                    <a:pt x="366427" y="0"/>
                  </a:cubicBezTo>
                  <a:lnTo>
                    <a:pt x="235363" y="0"/>
                  </a:lnTo>
                  <a:cubicBezTo>
                    <a:pt x="189452" y="0"/>
                    <a:pt x="151924" y="37528"/>
                    <a:pt x="151924" y="83439"/>
                  </a:cubicBezTo>
                  <a:lnTo>
                    <a:pt x="151924" y="624268"/>
                  </a:lnTo>
                  <a:cubicBezTo>
                    <a:pt x="151924" y="670084"/>
                    <a:pt x="189452" y="707612"/>
                    <a:pt x="235363" y="707612"/>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5" name="Freeform: Shape 54">
              <a:extLst>
                <a:ext uri="{FF2B5EF4-FFF2-40B4-BE49-F238E27FC236}">
                  <a16:creationId xmlns:a16="http://schemas.microsoft.com/office/drawing/2014/main" id="{47B7A1B4-FD2D-44A8-A32B-03E30BD09CF7}"/>
                </a:ext>
              </a:extLst>
            </p:cNvPr>
            <p:cNvSpPr/>
            <p:nvPr/>
          </p:nvSpPr>
          <p:spPr>
            <a:xfrm>
              <a:off x="4979019" y="1499219"/>
              <a:ext cx="450437" cy="290036"/>
            </a:xfrm>
            <a:custGeom>
              <a:avLst/>
              <a:gdLst>
                <a:gd name="connsiteX0" fmla="*/ 450438 w 450437"/>
                <a:gd name="connsiteY0" fmla="*/ 0 h 290036"/>
                <a:gd name="connsiteX1" fmla="*/ 70009 w 450437"/>
                <a:gd name="connsiteY1" fmla="*/ 0 h 290036"/>
                <a:gd name="connsiteX2" fmla="*/ 0 w 450437"/>
                <a:gd name="connsiteY2" fmla="*/ 70009 h 290036"/>
                <a:gd name="connsiteX3" fmla="*/ 0 w 450437"/>
                <a:gd name="connsiteY3" fmla="*/ 220028 h 290036"/>
                <a:gd name="connsiteX4" fmla="*/ 70009 w 450437"/>
                <a:gd name="connsiteY4" fmla="*/ 290036 h 290036"/>
                <a:gd name="connsiteX5" fmla="*/ 450438 w 450437"/>
                <a:gd name="connsiteY5" fmla="*/ 290036 h 290036"/>
                <a:gd name="connsiteX6" fmla="*/ 450438 w 450437"/>
                <a:gd name="connsiteY6" fmla="*/ 0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437" h="290036">
                  <a:moveTo>
                    <a:pt x="450438" y="0"/>
                  </a:moveTo>
                  <a:lnTo>
                    <a:pt x="70009" y="0"/>
                  </a:lnTo>
                  <a:cubicBezTo>
                    <a:pt x="31528" y="0"/>
                    <a:pt x="0" y="31528"/>
                    <a:pt x="0" y="70009"/>
                  </a:cubicBezTo>
                  <a:lnTo>
                    <a:pt x="0" y="220028"/>
                  </a:lnTo>
                  <a:cubicBezTo>
                    <a:pt x="0" y="258509"/>
                    <a:pt x="31528" y="290036"/>
                    <a:pt x="70009" y="290036"/>
                  </a:cubicBezTo>
                  <a:lnTo>
                    <a:pt x="450438" y="290036"/>
                  </a:lnTo>
                  <a:lnTo>
                    <a:pt x="45043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6" name="Freeform: Shape 55">
              <a:extLst>
                <a:ext uri="{FF2B5EF4-FFF2-40B4-BE49-F238E27FC236}">
                  <a16:creationId xmlns:a16="http://schemas.microsoft.com/office/drawing/2014/main" id="{577E858F-FC3D-459D-84E3-39455C9A7343}"/>
                </a:ext>
              </a:extLst>
            </p:cNvPr>
            <p:cNvSpPr/>
            <p:nvPr/>
          </p:nvSpPr>
          <p:spPr>
            <a:xfrm>
              <a:off x="4666981" y="1789445"/>
              <a:ext cx="762571" cy="290036"/>
            </a:xfrm>
            <a:custGeom>
              <a:avLst/>
              <a:gdLst>
                <a:gd name="connsiteX0" fmla="*/ 762476 w 762571"/>
                <a:gd name="connsiteY0" fmla="*/ 290036 h 290036"/>
                <a:gd name="connsiteX1" fmla="*/ 70009 w 762571"/>
                <a:gd name="connsiteY1" fmla="*/ 290036 h 290036"/>
                <a:gd name="connsiteX2" fmla="*/ 0 w 762571"/>
                <a:gd name="connsiteY2" fmla="*/ 220028 h 290036"/>
                <a:gd name="connsiteX3" fmla="*/ 0 w 762571"/>
                <a:gd name="connsiteY3" fmla="*/ 70009 h 290036"/>
                <a:gd name="connsiteX4" fmla="*/ 70009 w 762571"/>
                <a:gd name="connsiteY4" fmla="*/ 0 h 290036"/>
                <a:gd name="connsiteX5" fmla="*/ 208216 w 762571"/>
                <a:gd name="connsiteY5" fmla="*/ 0 h 290036"/>
                <a:gd name="connsiteX6" fmla="*/ 299847 w 762571"/>
                <a:gd name="connsiteY6" fmla="*/ 61531 h 290036"/>
                <a:gd name="connsiteX7" fmla="*/ 299847 w 762571"/>
                <a:gd name="connsiteY7" fmla="*/ 77629 h 290036"/>
                <a:gd name="connsiteX8" fmla="*/ 368046 w 762571"/>
                <a:gd name="connsiteY8" fmla="*/ 145828 h 290036"/>
                <a:gd name="connsiteX9" fmla="*/ 391763 w 762571"/>
                <a:gd name="connsiteY9" fmla="*/ 145828 h 290036"/>
                <a:gd name="connsiteX10" fmla="*/ 459962 w 762571"/>
                <a:gd name="connsiteY10" fmla="*/ 77629 h 290036"/>
                <a:gd name="connsiteX11" fmla="*/ 459962 w 762571"/>
                <a:gd name="connsiteY11" fmla="*/ 61531 h 290036"/>
                <a:gd name="connsiteX12" fmla="*/ 421005 w 762571"/>
                <a:gd name="connsiteY12" fmla="*/ 0 h 290036"/>
                <a:gd name="connsiteX13" fmla="*/ 762571 w 762571"/>
                <a:gd name="connsiteY13" fmla="*/ 0 h 290036"/>
                <a:gd name="connsiteX14" fmla="*/ 762571 w 762571"/>
                <a:gd name="connsiteY14" fmla="*/ 290036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571" h="290036">
                  <a:moveTo>
                    <a:pt x="762476" y="290036"/>
                  </a:moveTo>
                  <a:lnTo>
                    <a:pt x="70009" y="290036"/>
                  </a:lnTo>
                  <a:cubicBezTo>
                    <a:pt x="31528" y="290036"/>
                    <a:pt x="0" y="258509"/>
                    <a:pt x="0" y="220028"/>
                  </a:cubicBezTo>
                  <a:lnTo>
                    <a:pt x="0" y="70009"/>
                  </a:lnTo>
                  <a:cubicBezTo>
                    <a:pt x="0" y="31528"/>
                    <a:pt x="31528" y="0"/>
                    <a:pt x="70009" y="0"/>
                  </a:cubicBezTo>
                  <a:lnTo>
                    <a:pt x="208216" y="0"/>
                  </a:lnTo>
                  <a:cubicBezTo>
                    <a:pt x="268224" y="1143"/>
                    <a:pt x="299847" y="34480"/>
                    <a:pt x="299847" y="61531"/>
                  </a:cubicBezTo>
                  <a:lnTo>
                    <a:pt x="299847" y="77629"/>
                  </a:lnTo>
                  <a:cubicBezTo>
                    <a:pt x="299847" y="115157"/>
                    <a:pt x="330517" y="145828"/>
                    <a:pt x="368046" y="145828"/>
                  </a:cubicBezTo>
                  <a:lnTo>
                    <a:pt x="391763" y="145828"/>
                  </a:lnTo>
                  <a:cubicBezTo>
                    <a:pt x="429292" y="145828"/>
                    <a:pt x="459962" y="115157"/>
                    <a:pt x="459962" y="77629"/>
                  </a:cubicBezTo>
                  <a:lnTo>
                    <a:pt x="459962" y="61531"/>
                  </a:lnTo>
                  <a:cubicBezTo>
                    <a:pt x="459962" y="34480"/>
                    <a:pt x="443960" y="10954"/>
                    <a:pt x="421005" y="0"/>
                  </a:cubicBezTo>
                  <a:lnTo>
                    <a:pt x="762571" y="0"/>
                  </a:lnTo>
                  <a:lnTo>
                    <a:pt x="762571" y="29003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7" name="Freeform: Shape 56">
              <a:extLst>
                <a:ext uri="{FF2B5EF4-FFF2-40B4-BE49-F238E27FC236}">
                  <a16:creationId xmlns:a16="http://schemas.microsoft.com/office/drawing/2014/main" id="{4D18E699-492E-4A0A-8F83-20CA3D9275C1}"/>
                </a:ext>
              </a:extLst>
            </p:cNvPr>
            <p:cNvSpPr/>
            <p:nvPr/>
          </p:nvSpPr>
          <p:spPr>
            <a:xfrm>
              <a:off x="4752787" y="2078719"/>
              <a:ext cx="676764" cy="280797"/>
            </a:xfrm>
            <a:custGeom>
              <a:avLst/>
              <a:gdLst>
                <a:gd name="connsiteX0" fmla="*/ 676764 w 676764"/>
                <a:gd name="connsiteY0" fmla="*/ 63056 h 280797"/>
                <a:gd name="connsiteX1" fmla="*/ 676764 w 676764"/>
                <a:gd name="connsiteY1" fmla="*/ 75914 h 280797"/>
                <a:gd name="connsiteX2" fmla="*/ 676764 w 676764"/>
                <a:gd name="connsiteY2" fmla="*/ 84106 h 280797"/>
                <a:gd name="connsiteX3" fmla="*/ 616281 w 676764"/>
                <a:gd name="connsiteY3" fmla="*/ 144590 h 280797"/>
                <a:gd name="connsiteX4" fmla="*/ 526174 w 676764"/>
                <a:gd name="connsiteY4" fmla="*/ 144590 h 280797"/>
                <a:gd name="connsiteX5" fmla="*/ 526174 w 676764"/>
                <a:gd name="connsiteY5" fmla="*/ 220313 h 280797"/>
                <a:gd name="connsiteX6" fmla="*/ 465691 w 676764"/>
                <a:gd name="connsiteY6" fmla="*/ 280797 h 280797"/>
                <a:gd name="connsiteX7" fmla="*/ 227566 w 676764"/>
                <a:gd name="connsiteY7" fmla="*/ 280797 h 280797"/>
                <a:gd name="connsiteX8" fmla="*/ 227566 w 676764"/>
                <a:gd name="connsiteY8" fmla="*/ 205073 h 280797"/>
                <a:gd name="connsiteX9" fmla="*/ 167082 w 676764"/>
                <a:gd name="connsiteY9" fmla="*/ 144590 h 280797"/>
                <a:gd name="connsiteX10" fmla="*/ 7348 w 676764"/>
                <a:gd name="connsiteY10" fmla="*/ 144590 h 280797"/>
                <a:gd name="connsiteX11" fmla="*/ 67832 w 676764"/>
                <a:gd name="connsiteY11" fmla="*/ 84106 h 280797"/>
                <a:gd name="connsiteX12" fmla="*/ 67832 w 676764"/>
                <a:gd name="connsiteY12" fmla="*/ 63056 h 280797"/>
                <a:gd name="connsiteX13" fmla="*/ 7348 w 676764"/>
                <a:gd name="connsiteY13" fmla="*/ 2572 h 280797"/>
                <a:gd name="connsiteX14" fmla="*/ 96502 w 676764"/>
                <a:gd name="connsiteY14" fmla="*/ 1905 h 280797"/>
                <a:gd name="connsiteX15" fmla="*/ 96502 w 676764"/>
                <a:gd name="connsiteY15" fmla="*/ 0 h 280797"/>
                <a:gd name="connsiteX16" fmla="*/ 465691 w 676764"/>
                <a:gd name="connsiteY16" fmla="*/ 0 h 280797"/>
                <a:gd name="connsiteX17" fmla="*/ 676764 w 676764"/>
                <a:gd name="connsiteY17" fmla="*/ 0 h 280797"/>
                <a:gd name="connsiteX18" fmla="*/ 676764 w 676764"/>
                <a:gd name="connsiteY18" fmla="*/ 63056 h 280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6764" h="280797">
                  <a:moveTo>
                    <a:pt x="676764" y="63056"/>
                  </a:moveTo>
                  <a:lnTo>
                    <a:pt x="676764" y="75914"/>
                  </a:lnTo>
                  <a:lnTo>
                    <a:pt x="676764" y="84106"/>
                  </a:lnTo>
                  <a:cubicBezTo>
                    <a:pt x="676764" y="117348"/>
                    <a:pt x="649523" y="144590"/>
                    <a:pt x="616281" y="144590"/>
                  </a:cubicBezTo>
                  <a:lnTo>
                    <a:pt x="526174" y="144590"/>
                  </a:lnTo>
                  <a:lnTo>
                    <a:pt x="526174" y="220313"/>
                  </a:lnTo>
                  <a:cubicBezTo>
                    <a:pt x="526174" y="253556"/>
                    <a:pt x="498933" y="280797"/>
                    <a:pt x="465691" y="280797"/>
                  </a:cubicBezTo>
                  <a:lnTo>
                    <a:pt x="227566" y="280797"/>
                  </a:lnTo>
                  <a:lnTo>
                    <a:pt x="227566" y="205073"/>
                  </a:lnTo>
                  <a:cubicBezTo>
                    <a:pt x="227566" y="171831"/>
                    <a:pt x="200324" y="144590"/>
                    <a:pt x="167082" y="144590"/>
                  </a:cubicBezTo>
                  <a:lnTo>
                    <a:pt x="7348" y="144590"/>
                  </a:lnTo>
                  <a:cubicBezTo>
                    <a:pt x="40590" y="144590"/>
                    <a:pt x="67832" y="117443"/>
                    <a:pt x="67832" y="84106"/>
                  </a:cubicBezTo>
                  <a:lnTo>
                    <a:pt x="67832" y="63056"/>
                  </a:lnTo>
                  <a:cubicBezTo>
                    <a:pt x="67832" y="29813"/>
                    <a:pt x="40590" y="2572"/>
                    <a:pt x="7348" y="2572"/>
                  </a:cubicBezTo>
                  <a:cubicBezTo>
                    <a:pt x="-18370" y="2572"/>
                    <a:pt x="26302" y="2286"/>
                    <a:pt x="96502" y="1905"/>
                  </a:cubicBezTo>
                  <a:lnTo>
                    <a:pt x="96502" y="0"/>
                  </a:lnTo>
                  <a:lnTo>
                    <a:pt x="465691" y="0"/>
                  </a:lnTo>
                  <a:lnTo>
                    <a:pt x="676764" y="0"/>
                  </a:lnTo>
                  <a:lnTo>
                    <a:pt x="676764" y="6305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8" name="Freeform: Shape 57">
              <a:extLst>
                <a:ext uri="{FF2B5EF4-FFF2-40B4-BE49-F238E27FC236}">
                  <a16:creationId xmlns:a16="http://schemas.microsoft.com/office/drawing/2014/main" id="{D57D48E2-D36D-4C65-8FB4-4F27AF98A90F}"/>
                </a:ext>
              </a:extLst>
            </p:cNvPr>
            <p:cNvSpPr/>
            <p:nvPr/>
          </p:nvSpPr>
          <p:spPr>
            <a:xfrm>
              <a:off x="4480672" y="2223214"/>
              <a:ext cx="495776" cy="136207"/>
            </a:xfrm>
            <a:custGeom>
              <a:avLst/>
              <a:gdLst>
                <a:gd name="connsiteX0" fmla="*/ 495776 w 495776"/>
                <a:gd name="connsiteY0" fmla="*/ 136208 h 136207"/>
                <a:gd name="connsiteX1" fmla="*/ 495776 w 495776"/>
                <a:gd name="connsiteY1" fmla="*/ 60484 h 136207"/>
                <a:gd name="connsiteX2" fmla="*/ 435292 w 495776"/>
                <a:gd name="connsiteY2" fmla="*/ 0 h 136207"/>
                <a:gd name="connsiteX3" fmla="*/ 89630 w 495776"/>
                <a:gd name="connsiteY3" fmla="*/ 0 h 136207"/>
                <a:gd name="connsiteX4" fmla="*/ 29146 w 495776"/>
                <a:gd name="connsiteY4" fmla="*/ 60484 h 136207"/>
                <a:gd name="connsiteX5" fmla="*/ 29146 w 495776"/>
                <a:gd name="connsiteY5" fmla="*/ 73914 h 136207"/>
                <a:gd name="connsiteX6" fmla="*/ 0 w 495776"/>
                <a:gd name="connsiteY6" fmla="*/ 136208 h 136207"/>
                <a:gd name="connsiteX7" fmla="*/ 495776 w 495776"/>
                <a:gd name="connsiteY7" fmla="*/ 136208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776" h="136207">
                  <a:moveTo>
                    <a:pt x="495776" y="136208"/>
                  </a:moveTo>
                  <a:lnTo>
                    <a:pt x="495776" y="60484"/>
                  </a:lnTo>
                  <a:cubicBezTo>
                    <a:pt x="495776" y="27242"/>
                    <a:pt x="468534" y="0"/>
                    <a:pt x="435292" y="0"/>
                  </a:cubicBezTo>
                  <a:lnTo>
                    <a:pt x="89630" y="0"/>
                  </a:lnTo>
                  <a:cubicBezTo>
                    <a:pt x="56388" y="0"/>
                    <a:pt x="29146" y="27242"/>
                    <a:pt x="29146" y="60484"/>
                  </a:cubicBezTo>
                  <a:lnTo>
                    <a:pt x="29146" y="73914"/>
                  </a:lnTo>
                  <a:cubicBezTo>
                    <a:pt x="29146" y="98870"/>
                    <a:pt x="17907" y="121253"/>
                    <a:pt x="0" y="136208"/>
                  </a:cubicBezTo>
                  <a:lnTo>
                    <a:pt x="495776" y="136208"/>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9" name="Freeform: Shape 58">
              <a:extLst>
                <a:ext uri="{FF2B5EF4-FFF2-40B4-BE49-F238E27FC236}">
                  <a16:creationId xmlns:a16="http://schemas.microsoft.com/office/drawing/2014/main" id="{CC95BA71-F64B-4E49-913A-83C7DB7E2B10}"/>
                </a:ext>
              </a:extLst>
            </p:cNvPr>
            <p:cNvSpPr/>
            <p:nvPr/>
          </p:nvSpPr>
          <p:spPr>
            <a:xfrm>
              <a:off x="3380820" y="2942637"/>
              <a:ext cx="1117568" cy="468344"/>
            </a:xfrm>
            <a:custGeom>
              <a:avLst/>
              <a:gdLst>
                <a:gd name="connsiteX0" fmla="*/ 1117568 w 1117568"/>
                <a:gd name="connsiteY0" fmla="*/ 208883 h 468344"/>
                <a:gd name="connsiteX1" fmla="*/ 1117568 w 1117568"/>
                <a:gd name="connsiteY1" fmla="*/ 303943 h 468344"/>
                <a:gd name="connsiteX2" fmla="*/ 1047559 w 1117568"/>
                <a:gd name="connsiteY2" fmla="*/ 303276 h 468344"/>
                <a:gd name="connsiteX3" fmla="*/ 1041273 w 1117568"/>
                <a:gd name="connsiteY3" fmla="*/ 303276 h 468344"/>
                <a:gd name="connsiteX4" fmla="*/ 960310 w 1117568"/>
                <a:gd name="connsiteY4" fmla="*/ 384238 h 468344"/>
                <a:gd name="connsiteX5" fmla="*/ 960310 w 1117568"/>
                <a:gd name="connsiteY5" fmla="*/ 398335 h 468344"/>
                <a:gd name="connsiteX6" fmla="*/ 890302 w 1117568"/>
                <a:gd name="connsiteY6" fmla="*/ 468344 h 468344"/>
                <a:gd name="connsiteX7" fmla="*/ 323088 w 1117568"/>
                <a:gd name="connsiteY7" fmla="*/ 468344 h 468344"/>
                <a:gd name="connsiteX8" fmla="*/ 322421 w 1117568"/>
                <a:gd name="connsiteY8" fmla="*/ 398335 h 468344"/>
                <a:gd name="connsiteX9" fmla="*/ 322421 w 1117568"/>
                <a:gd name="connsiteY9" fmla="*/ 384238 h 468344"/>
                <a:gd name="connsiteX10" fmla="*/ 241459 w 1117568"/>
                <a:gd name="connsiteY10" fmla="*/ 303276 h 468344"/>
                <a:gd name="connsiteX11" fmla="*/ 224695 w 1117568"/>
                <a:gd name="connsiteY11" fmla="*/ 303276 h 468344"/>
                <a:gd name="connsiteX12" fmla="*/ 154876 w 1117568"/>
                <a:gd name="connsiteY12" fmla="*/ 238887 h 468344"/>
                <a:gd name="connsiteX13" fmla="*/ 74104 w 1117568"/>
                <a:gd name="connsiteY13" fmla="*/ 164401 h 468344"/>
                <a:gd name="connsiteX14" fmla="*/ 70009 w 1117568"/>
                <a:gd name="connsiteY14" fmla="*/ 164401 h 468344"/>
                <a:gd name="connsiteX15" fmla="*/ 0 w 1117568"/>
                <a:gd name="connsiteY15" fmla="*/ 94393 h 468344"/>
                <a:gd name="connsiteX16" fmla="*/ 0 w 1117568"/>
                <a:gd name="connsiteY16" fmla="*/ 70009 h 468344"/>
                <a:gd name="connsiteX17" fmla="*/ 70009 w 1117568"/>
                <a:gd name="connsiteY17" fmla="*/ 0 h 468344"/>
                <a:gd name="connsiteX18" fmla="*/ 403003 w 1117568"/>
                <a:gd name="connsiteY18" fmla="*/ 0 h 468344"/>
                <a:gd name="connsiteX19" fmla="*/ 452533 w 1117568"/>
                <a:gd name="connsiteY19" fmla="*/ 0 h 468344"/>
                <a:gd name="connsiteX20" fmla="*/ 567880 w 1117568"/>
                <a:gd name="connsiteY20" fmla="*/ 0 h 468344"/>
                <a:gd name="connsiteX21" fmla="*/ 637699 w 1117568"/>
                <a:gd name="connsiteY21" fmla="*/ 64389 h 468344"/>
                <a:gd name="connsiteX22" fmla="*/ 718471 w 1117568"/>
                <a:gd name="connsiteY22" fmla="*/ 138874 h 468344"/>
                <a:gd name="connsiteX23" fmla="*/ 1047655 w 1117568"/>
                <a:gd name="connsiteY23" fmla="*/ 138874 h 468344"/>
                <a:gd name="connsiteX24" fmla="*/ 1117568 w 1117568"/>
                <a:gd name="connsiteY24" fmla="*/ 208883 h 46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17568" h="468344">
                  <a:moveTo>
                    <a:pt x="1117568" y="208883"/>
                  </a:moveTo>
                  <a:lnTo>
                    <a:pt x="1117568" y="303943"/>
                  </a:lnTo>
                  <a:lnTo>
                    <a:pt x="1047559" y="303276"/>
                  </a:lnTo>
                  <a:lnTo>
                    <a:pt x="1041273" y="303276"/>
                  </a:lnTo>
                  <a:cubicBezTo>
                    <a:pt x="996696" y="303276"/>
                    <a:pt x="960310" y="339662"/>
                    <a:pt x="960310" y="384238"/>
                  </a:cubicBezTo>
                  <a:lnTo>
                    <a:pt x="960310" y="398335"/>
                  </a:lnTo>
                  <a:cubicBezTo>
                    <a:pt x="960310" y="436816"/>
                    <a:pt x="928783" y="468344"/>
                    <a:pt x="890302" y="468344"/>
                  </a:cubicBezTo>
                  <a:lnTo>
                    <a:pt x="323088" y="468344"/>
                  </a:lnTo>
                  <a:lnTo>
                    <a:pt x="322421" y="398335"/>
                  </a:lnTo>
                  <a:lnTo>
                    <a:pt x="322421" y="384238"/>
                  </a:lnTo>
                  <a:cubicBezTo>
                    <a:pt x="322421" y="339662"/>
                    <a:pt x="286036" y="303276"/>
                    <a:pt x="241459" y="303276"/>
                  </a:cubicBezTo>
                  <a:lnTo>
                    <a:pt x="224695" y="303276"/>
                  </a:lnTo>
                  <a:cubicBezTo>
                    <a:pt x="188023" y="303276"/>
                    <a:pt x="157734" y="274796"/>
                    <a:pt x="154876" y="238887"/>
                  </a:cubicBezTo>
                  <a:cubicBezTo>
                    <a:pt x="151447" y="196691"/>
                    <a:pt x="116491" y="164401"/>
                    <a:pt x="74104" y="164401"/>
                  </a:cubicBezTo>
                  <a:lnTo>
                    <a:pt x="70009" y="164401"/>
                  </a:lnTo>
                  <a:cubicBezTo>
                    <a:pt x="31528" y="164401"/>
                    <a:pt x="0" y="132874"/>
                    <a:pt x="0" y="94393"/>
                  </a:cubicBezTo>
                  <a:lnTo>
                    <a:pt x="0" y="70009"/>
                  </a:lnTo>
                  <a:cubicBezTo>
                    <a:pt x="0" y="31528"/>
                    <a:pt x="31528" y="0"/>
                    <a:pt x="70009" y="0"/>
                  </a:cubicBezTo>
                  <a:lnTo>
                    <a:pt x="403003" y="0"/>
                  </a:lnTo>
                  <a:lnTo>
                    <a:pt x="452533" y="0"/>
                  </a:lnTo>
                  <a:lnTo>
                    <a:pt x="567880" y="0"/>
                  </a:lnTo>
                  <a:cubicBezTo>
                    <a:pt x="604456" y="0"/>
                    <a:pt x="634841" y="28480"/>
                    <a:pt x="637699" y="64389"/>
                  </a:cubicBezTo>
                  <a:cubicBezTo>
                    <a:pt x="641128" y="106585"/>
                    <a:pt x="676084" y="138874"/>
                    <a:pt x="718471" y="138874"/>
                  </a:cubicBezTo>
                  <a:lnTo>
                    <a:pt x="1047655" y="138874"/>
                  </a:lnTo>
                  <a:cubicBezTo>
                    <a:pt x="1086040" y="138874"/>
                    <a:pt x="1117568" y="170402"/>
                    <a:pt x="1117568" y="208883"/>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0" name="Freeform: Shape 59">
              <a:extLst>
                <a:ext uri="{FF2B5EF4-FFF2-40B4-BE49-F238E27FC236}">
                  <a16:creationId xmlns:a16="http://schemas.microsoft.com/office/drawing/2014/main" id="{8EA42EC0-CC00-472D-9C59-C262992F99D9}"/>
                </a:ext>
              </a:extLst>
            </p:cNvPr>
            <p:cNvSpPr/>
            <p:nvPr/>
          </p:nvSpPr>
          <p:spPr>
            <a:xfrm>
              <a:off x="4183110" y="3246961"/>
              <a:ext cx="781336" cy="280130"/>
            </a:xfrm>
            <a:custGeom>
              <a:avLst/>
              <a:gdLst>
                <a:gd name="connsiteX0" fmla="*/ 0 w 781336"/>
                <a:gd name="connsiteY0" fmla="*/ 164116 h 280130"/>
                <a:gd name="connsiteX1" fmla="*/ 0 w 781336"/>
                <a:gd name="connsiteY1" fmla="*/ 280130 h 280130"/>
                <a:gd name="connsiteX2" fmla="*/ 241363 w 781336"/>
                <a:gd name="connsiteY2" fmla="*/ 280130 h 280130"/>
                <a:gd name="connsiteX3" fmla="*/ 290894 w 781336"/>
                <a:gd name="connsiteY3" fmla="*/ 280130 h 280130"/>
                <a:gd name="connsiteX4" fmla="*/ 406241 w 781336"/>
                <a:gd name="connsiteY4" fmla="*/ 280130 h 280130"/>
                <a:gd name="connsiteX5" fmla="*/ 476060 w 781336"/>
                <a:gd name="connsiteY5" fmla="*/ 215741 h 280130"/>
                <a:gd name="connsiteX6" fmla="*/ 556832 w 781336"/>
                <a:gd name="connsiteY6" fmla="*/ 141256 h 280130"/>
                <a:gd name="connsiteX7" fmla="*/ 781336 w 781336"/>
                <a:gd name="connsiteY7" fmla="*/ 141256 h 280130"/>
                <a:gd name="connsiteX8" fmla="*/ 781336 w 781336"/>
                <a:gd name="connsiteY8" fmla="*/ 1524 h 280130"/>
                <a:gd name="connsiteX9" fmla="*/ 530162 w 781336"/>
                <a:gd name="connsiteY9" fmla="*/ 1524 h 280130"/>
                <a:gd name="connsiteX10" fmla="*/ 223647 w 781336"/>
                <a:gd name="connsiteY10" fmla="*/ 0 h 280130"/>
                <a:gd name="connsiteX11" fmla="*/ 157925 w 781336"/>
                <a:gd name="connsiteY11" fmla="*/ 80010 h 280130"/>
                <a:gd name="connsiteX12" fmla="*/ 157925 w 781336"/>
                <a:gd name="connsiteY12" fmla="*/ 94107 h 280130"/>
                <a:gd name="connsiteX13" fmla="*/ 87916 w 781336"/>
                <a:gd name="connsiteY13" fmla="*/ 164116 h 280130"/>
                <a:gd name="connsiteX14" fmla="*/ 0 w 781336"/>
                <a:gd name="connsiteY14" fmla="*/ 164116 h 280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1336" h="280130">
                  <a:moveTo>
                    <a:pt x="0" y="164116"/>
                  </a:moveTo>
                  <a:lnTo>
                    <a:pt x="0" y="280130"/>
                  </a:lnTo>
                  <a:lnTo>
                    <a:pt x="241363" y="280130"/>
                  </a:lnTo>
                  <a:lnTo>
                    <a:pt x="290894" y="280130"/>
                  </a:lnTo>
                  <a:lnTo>
                    <a:pt x="406241" y="280130"/>
                  </a:lnTo>
                  <a:cubicBezTo>
                    <a:pt x="442817" y="280130"/>
                    <a:pt x="473202" y="251651"/>
                    <a:pt x="476060" y="215741"/>
                  </a:cubicBezTo>
                  <a:cubicBezTo>
                    <a:pt x="479488" y="173546"/>
                    <a:pt x="514445" y="141256"/>
                    <a:pt x="556832" y="141256"/>
                  </a:cubicBezTo>
                  <a:lnTo>
                    <a:pt x="781336" y="141256"/>
                  </a:lnTo>
                  <a:lnTo>
                    <a:pt x="781336" y="1524"/>
                  </a:lnTo>
                  <a:lnTo>
                    <a:pt x="530162" y="1524"/>
                  </a:lnTo>
                  <a:lnTo>
                    <a:pt x="223647" y="0"/>
                  </a:lnTo>
                  <a:cubicBezTo>
                    <a:pt x="188500" y="8858"/>
                    <a:pt x="157925" y="42196"/>
                    <a:pt x="157925" y="80010"/>
                  </a:cubicBezTo>
                  <a:lnTo>
                    <a:pt x="157925" y="94107"/>
                  </a:lnTo>
                  <a:cubicBezTo>
                    <a:pt x="157925" y="132588"/>
                    <a:pt x="126397" y="164116"/>
                    <a:pt x="87916" y="164116"/>
                  </a:cubicBezTo>
                  <a:lnTo>
                    <a:pt x="0" y="164116"/>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1" name="Freeform: Shape 60">
              <a:extLst>
                <a:ext uri="{FF2B5EF4-FFF2-40B4-BE49-F238E27FC236}">
                  <a16:creationId xmlns:a16="http://schemas.microsoft.com/office/drawing/2014/main" id="{D8036831-E3F9-413C-82F8-1AAE8176253E}"/>
                </a:ext>
              </a:extLst>
            </p:cNvPr>
            <p:cNvSpPr/>
            <p:nvPr/>
          </p:nvSpPr>
          <p:spPr>
            <a:xfrm>
              <a:off x="3700479" y="2359612"/>
              <a:ext cx="1578101" cy="888872"/>
            </a:xfrm>
            <a:custGeom>
              <a:avLst/>
              <a:gdLst>
                <a:gd name="connsiteX0" fmla="*/ 1423702 w 1578101"/>
                <a:gd name="connsiteY0" fmla="*/ 828389 h 888872"/>
                <a:gd name="connsiteX1" fmla="*/ 1363218 w 1578101"/>
                <a:gd name="connsiteY1" fmla="*/ 888873 h 888872"/>
                <a:gd name="connsiteX2" fmla="*/ 1012793 w 1578101"/>
                <a:gd name="connsiteY2" fmla="*/ 888873 h 888872"/>
                <a:gd name="connsiteX3" fmla="*/ 797909 w 1578101"/>
                <a:gd name="connsiteY3" fmla="*/ 887063 h 888872"/>
                <a:gd name="connsiteX4" fmla="*/ 797909 w 1578101"/>
                <a:gd name="connsiteY4" fmla="*/ 792004 h 888872"/>
                <a:gd name="connsiteX5" fmla="*/ 727900 w 1578101"/>
                <a:gd name="connsiteY5" fmla="*/ 721995 h 888872"/>
                <a:gd name="connsiteX6" fmla="*/ 398716 w 1578101"/>
                <a:gd name="connsiteY6" fmla="*/ 721995 h 888872"/>
                <a:gd name="connsiteX7" fmla="*/ 317945 w 1578101"/>
                <a:gd name="connsiteY7" fmla="*/ 647509 h 888872"/>
                <a:gd name="connsiteX8" fmla="*/ 248126 w 1578101"/>
                <a:gd name="connsiteY8" fmla="*/ 583120 h 888872"/>
                <a:gd name="connsiteX9" fmla="*/ 132683 w 1578101"/>
                <a:gd name="connsiteY9" fmla="*/ 583120 h 888872"/>
                <a:gd name="connsiteX10" fmla="*/ 83153 w 1578101"/>
                <a:gd name="connsiteY10" fmla="*/ 583120 h 888872"/>
                <a:gd name="connsiteX11" fmla="*/ 0 w 1578101"/>
                <a:gd name="connsiteY11" fmla="*/ 583120 h 888872"/>
                <a:gd name="connsiteX12" fmla="*/ 0 w 1578101"/>
                <a:gd name="connsiteY12" fmla="*/ 60484 h 888872"/>
                <a:gd name="connsiteX13" fmla="*/ 60484 w 1578101"/>
                <a:gd name="connsiteY13" fmla="*/ 0 h 888872"/>
                <a:gd name="connsiteX14" fmla="*/ 1420939 w 1578101"/>
                <a:gd name="connsiteY14" fmla="*/ 0 h 888872"/>
                <a:gd name="connsiteX15" fmla="*/ 1420939 w 1578101"/>
                <a:gd name="connsiteY15" fmla="*/ 338328 h 888872"/>
                <a:gd name="connsiteX16" fmla="*/ 1420939 w 1578101"/>
                <a:gd name="connsiteY16" fmla="*/ 390716 h 888872"/>
                <a:gd name="connsiteX17" fmla="*/ 1481423 w 1578101"/>
                <a:gd name="connsiteY17" fmla="*/ 451199 h 888872"/>
                <a:gd name="connsiteX18" fmla="*/ 1575721 w 1578101"/>
                <a:gd name="connsiteY18" fmla="*/ 451199 h 888872"/>
                <a:gd name="connsiteX19" fmla="*/ 1578102 w 1578101"/>
                <a:gd name="connsiteY19" fmla="*/ 729996 h 888872"/>
                <a:gd name="connsiteX20" fmla="*/ 1496282 w 1578101"/>
                <a:gd name="connsiteY20" fmla="*/ 729996 h 888872"/>
                <a:gd name="connsiteX21" fmla="*/ 1423797 w 1578101"/>
                <a:gd name="connsiteY21" fmla="*/ 797624 h 888872"/>
                <a:gd name="connsiteX22" fmla="*/ 1423702 w 1578101"/>
                <a:gd name="connsiteY22" fmla="*/ 828389 h 88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8101" h="888872">
                  <a:moveTo>
                    <a:pt x="1423702" y="828389"/>
                  </a:moveTo>
                  <a:cubicBezTo>
                    <a:pt x="1423511" y="861632"/>
                    <a:pt x="1396460" y="888873"/>
                    <a:pt x="1363218" y="888873"/>
                  </a:cubicBezTo>
                  <a:lnTo>
                    <a:pt x="1012793" y="888873"/>
                  </a:lnTo>
                  <a:lnTo>
                    <a:pt x="797909" y="887063"/>
                  </a:lnTo>
                  <a:lnTo>
                    <a:pt x="797909" y="792004"/>
                  </a:lnTo>
                  <a:cubicBezTo>
                    <a:pt x="797909" y="753523"/>
                    <a:pt x="766381" y="721995"/>
                    <a:pt x="727900" y="721995"/>
                  </a:cubicBezTo>
                  <a:lnTo>
                    <a:pt x="398716" y="721995"/>
                  </a:lnTo>
                  <a:cubicBezTo>
                    <a:pt x="356425" y="721995"/>
                    <a:pt x="321373" y="689705"/>
                    <a:pt x="317945" y="647509"/>
                  </a:cubicBezTo>
                  <a:cubicBezTo>
                    <a:pt x="315087" y="611600"/>
                    <a:pt x="284797" y="583120"/>
                    <a:pt x="248126" y="583120"/>
                  </a:cubicBezTo>
                  <a:lnTo>
                    <a:pt x="132683" y="583120"/>
                  </a:lnTo>
                  <a:lnTo>
                    <a:pt x="83153" y="583120"/>
                  </a:lnTo>
                  <a:lnTo>
                    <a:pt x="0" y="583120"/>
                  </a:lnTo>
                  <a:lnTo>
                    <a:pt x="0" y="60484"/>
                  </a:lnTo>
                  <a:cubicBezTo>
                    <a:pt x="0" y="27242"/>
                    <a:pt x="27241" y="0"/>
                    <a:pt x="60484" y="0"/>
                  </a:cubicBezTo>
                  <a:lnTo>
                    <a:pt x="1420939" y="0"/>
                  </a:lnTo>
                  <a:lnTo>
                    <a:pt x="1420939" y="338328"/>
                  </a:lnTo>
                  <a:lnTo>
                    <a:pt x="1420939" y="390716"/>
                  </a:lnTo>
                  <a:cubicBezTo>
                    <a:pt x="1420939" y="423958"/>
                    <a:pt x="1448181" y="451199"/>
                    <a:pt x="1481423" y="451199"/>
                  </a:cubicBezTo>
                  <a:lnTo>
                    <a:pt x="1575721" y="451199"/>
                  </a:lnTo>
                  <a:lnTo>
                    <a:pt x="1578102" y="729996"/>
                  </a:lnTo>
                  <a:lnTo>
                    <a:pt x="1496282" y="729996"/>
                  </a:lnTo>
                  <a:cubicBezTo>
                    <a:pt x="1457801" y="729996"/>
                    <a:pt x="1423988" y="759047"/>
                    <a:pt x="1423797" y="797624"/>
                  </a:cubicBezTo>
                  <a:lnTo>
                    <a:pt x="1423702" y="828389"/>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2" name="Freeform: Shape 61">
              <a:extLst>
                <a:ext uri="{FF2B5EF4-FFF2-40B4-BE49-F238E27FC236}">
                  <a16:creationId xmlns:a16="http://schemas.microsoft.com/office/drawing/2014/main" id="{97E700EE-8996-4E37-AAEB-1EB990B7019B}"/>
                </a:ext>
              </a:extLst>
            </p:cNvPr>
            <p:cNvSpPr/>
            <p:nvPr/>
          </p:nvSpPr>
          <p:spPr>
            <a:xfrm>
              <a:off x="2589388" y="2358278"/>
              <a:ext cx="1112234" cy="1175003"/>
            </a:xfrm>
            <a:custGeom>
              <a:avLst/>
              <a:gdLst>
                <a:gd name="connsiteX0" fmla="*/ 162115 w 1112234"/>
                <a:gd name="connsiteY0" fmla="*/ 371475 h 1175003"/>
                <a:gd name="connsiteX1" fmla="*/ 162115 w 1112234"/>
                <a:gd name="connsiteY1" fmla="*/ 164402 h 1175003"/>
                <a:gd name="connsiteX2" fmla="*/ 219837 w 1112234"/>
                <a:gd name="connsiteY2" fmla="*/ 164116 h 1175003"/>
                <a:gd name="connsiteX3" fmla="*/ 246412 w 1112234"/>
                <a:gd name="connsiteY3" fmla="*/ 164116 h 1175003"/>
                <a:gd name="connsiteX4" fmla="*/ 322802 w 1112234"/>
                <a:gd name="connsiteY4" fmla="*/ 87725 h 1175003"/>
                <a:gd name="connsiteX5" fmla="*/ 322802 w 1112234"/>
                <a:gd name="connsiteY5" fmla="*/ 69723 h 1175003"/>
                <a:gd name="connsiteX6" fmla="*/ 279844 w 1112234"/>
                <a:gd name="connsiteY6" fmla="*/ 1143 h 1175003"/>
                <a:gd name="connsiteX7" fmla="*/ 876872 w 1112234"/>
                <a:gd name="connsiteY7" fmla="*/ 0 h 1175003"/>
                <a:gd name="connsiteX8" fmla="*/ 948309 w 1112234"/>
                <a:gd name="connsiteY8" fmla="*/ 69723 h 1175003"/>
                <a:gd name="connsiteX9" fmla="*/ 948309 w 1112234"/>
                <a:gd name="connsiteY9" fmla="*/ 87725 h 1175003"/>
                <a:gd name="connsiteX10" fmla="*/ 1024699 w 1112234"/>
                <a:gd name="connsiteY10" fmla="*/ 164116 h 1175003"/>
                <a:gd name="connsiteX11" fmla="*/ 1051274 w 1112234"/>
                <a:gd name="connsiteY11" fmla="*/ 164116 h 1175003"/>
                <a:gd name="connsiteX12" fmla="*/ 1112234 w 1112234"/>
                <a:gd name="connsiteY12" fmla="*/ 133636 h 1175003"/>
                <a:gd name="connsiteX13" fmla="*/ 1112234 w 1112234"/>
                <a:gd name="connsiteY13" fmla="*/ 584263 h 1175003"/>
                <a:gd name="connsiteX14" fmla="*/ 861346 w 1112234"/>
                <a:gd name="connsiteY14" fmla="*/ 584263 h 1175003"/>
                <a:gd name="connsiteX15" fmla="*/ 791337 w 1112234"/>
                <a:gd name="connsiteY15" fmla="*/ 654272 h 1175003"/>
                <a:gd name="connsiteX16" fmla="*/ 791337 w 1112234"/>
                <a:gd name="connsiteY16" fmla="*/ 678656 h 1175003"/>
                <a:gd name="connsiteX17" fmla="*/ 861346 w 1112234"/>
                <a:gd name="connsiteY17" fmla="*/ 748665 h 1175003"/>
                <a:gd name="connsiteX18" fmla="*/ 865441 w 1112234"/>
                <a:gd name="connsiteY18" fmla="*/ 748665 h 1175003"/>
                <a:gd name="connsiteX19" fmla="*/ 946213 w 1112234"/>
                <a:gd name="connsiteY19" fmla="*/ 823150 h 1175003"/>
                <a:gd name="connsiteX20" fmla="*/ 1016032 w 1112234"/>
                <a:gd name="connsiteY20" fmla="*/ 887539 h 1175003"/>
                <a:gd name="connsiteX21" fmla="*/ 1032796 w 1112234"/>
                <a:gd name="connsiteY21" fmla="*/ 887539 h 1175003"/>
                <a:gd name="connsiteX22" fmla="*/ 1112234 w 1112234"/>
                <a:gd name="connsiteY22" fmla="*/ 952786 h 1175003"/>
                <a:gd name="connsiteX23" fmla="*/ 1112234 w 1112234"/>
                <a:gd name="connsiteY23" fmla="*/ 1103948 h 1175003"/>
                <a:gd name="connsiteX24" fmla="*/ 1042225 w 1112234"/>
                <a:gd name="connsiteY24" fmla="*/ 1173956 h 1175003"/>
                <a:gd name="connsiteX25" fmla="*/ 743236 w 1112234"/>
                <a:gd name="connsiteY25" fmla="*/ 1173956 h 1175003"/>
                <a:gd name="connsiteX26" fmla="*/ 735330 w 1112234"/>
                <a:gd name="connsiteY26" fmla="*/ 1174337 h 1175003"/>
                <a:gd name="connsiteX27" fmla="*/ 720757 w 1112234"/>
                <a:gd name="connsiteY27" fmla="*/ 1175004 h 1175003"/>
                <a:gd name="connsiteX28" fmla="*/ 162782 w 1112234"/>
                <a:gd name="connsiteY28" fmla="*/ 1175004 h 1175003"/>
                <a:gd name="connsiteX29" fmla="*/ 162782 w 1112234"/>
                <a:gd name="connsiteY29" fmla="*/ 1111853 h 1175003"/>
                <a:gd name="connsiteX30" fmla="*/ 81820 w 1112234"/>
                <a:gd name="connsiteY30" fmla="*/ 1030891 h 1175003"/>
                <a:gd name="connsiteX31" fmla="*/ 70009 w 1112234"/>
                <a:gd name="connsiteY31" fmla="*/ 1030891 h 1175003"/>
                <a:gd name="connsiteX32" fmla="*/ 0 w 1112234"/>
                <a:gd name="connsiteY32" fmla="*/ 960882 h 1175003"/>
                <a:gd name="connsiteX33" fmla="*/ 0 w 1112234"/>
                <a:gd name="connsiteY33" fmla="*/ 522446 h 1175003"/>
                <a:gd name="connsiteX34" fmla="*/ 70009 w 1112234"/>
                <a:gd name="connsiteY34" fmla="*/ 452438 h 1175003"/>
                <a:gd name="connsiteX35" fmla="*/ 81153 w 1112234"/>
                <a:gd name="connsiteY35" fmla="*/ 452438 h 1175003"/>
                <a:gd name="connsiteX36" fmla="*/ 162115 w 1112234"/>
                <a:gd name="connsiteY36" fmla="*/ 371475 h 1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12234" h="1175003">
                  <a:moveTo>
                    <a:pt x="162115" y="371475"/>
                  </a:moveTo>
                  <a:lnTo>
                    <a:pt x="162115" y="164402"/>
                  </a:lnTo>
                  <a:lnTo>
                    <a:pt x="219837" y="164116"/>
                  </a:lnTo>
                  <a:lnTo>
                    <a:pt x="246412" y="164116"/>
                  </a:lnTo>
                  <a:cubicBezTo>
                    <a:pt x="288417" y="164116"/>
                    <a:pt x="322802" y="129730"/>
                    <a:pt x="322802" y="87725"/>
                  </a:cubicBezTo>
                  <a:lnTo>
                    <a:pt x="322802" y="69723"/>
                  </a:lnTo>
                  <a:cubicBezTo>
                    <a:pt x="322802" y="39719"/>
                    <a:pt x="305181" y="13621"/>
                    <a:pt x="279844" y="1143"/>
                  </a:cubicBezTo>
                  <a:cubicBezTo>
                    <a:pt x="462439" y="1143"/>
                    <a:pt x="695897" y="0"/>
                    <a:pt x="876872" y="0"/>
                  </a:cubicBezTo>
                  <a:cubicBezTo>
                    <a:pt x="939736" y="1524"/>
                    <a:pt x="948309" y="38767"/>
                    <a:pt x="948309" y="69723"/>
                  </a:cubicBezTo>
                  <a:lnTo>
                    <a:pt x="948309" y="87725"/>
                  </a:lnTo>
                  <a:cubicBezTo>
                    <a:pt x="948309" y="129730"/>
                    <a:pt x="982694" y="164116"/>
                    <a:pt x="1024699" y="164116"/>
                  </a:cubicBezTo>
                  <a:lnTo>
                    <a:pt x="1051274" y="164116"/>
                  </a:lnTo>
                  <a:cubicBezTo>
                    <a:pt x="1076134" y="164116"/>
                    <a:pt x="1098232" y="152114"/>
                    <a:pt x="1112234" y="133636"/>
                  </a:cubicBezTo>
                  <a:lnTo>
                    <a:pt x="1112234" y="584263"/>
                  </a:lnTo>
                  <a:lnTo>
                    <a:pt x="861346" y="584263"/>
                  </a:lnTo>
                  <a:cubicBezTo>
                    <a:pt x="822865" y="584263"/>
                    <a:pt x="791337" y="615791"/>
                    <a:pt x="791337" y="654272"/>
                  </a:cubicBezTo>
                  <a:lnTo>
                    <a:pt x="791337" y="678656"/>
                  </a:lnTo>
                  <a:cubicBezTo>
                    <a:pt x="791337" y="717137"/>
                    <a:pt x="822865" y="748665"/>
                    <a:pt x="861346" y="748665"/>
                  </a:cubicBezTo>
                  <a:lnTo>
                    <a:pt x="865441" y="748665"/>
                  </a:lnTo>
                  <a:cubicBezTo>
                    <a:pt x="907828" y="748665"/>
                    <a:pt x="942784" y="780955"/>
                    <a:pt x="946213" y="823150"/>
                  </a:cubicBezTo>
                  <a:cubicBezTo>
                    <a:pt x="949071" y="859060"/>
                    <a:pt x="979360" y="887539"/>
                    <a:pt x="1016032" y="887539"/>
                  </a:cubicBezTo>
                  <a:lnTo>
                    <a:pt x="1032796" y="887539"/>
                  </a:lnTo>
                  <a:cubicBezTo>
                    <a:pt x="1072039" y="887539"/>
                    <a:pt x="1104900" y="915638"/>
                    <a:pt x="1112234" y="952786"/>
                  </a:cubicBezTo>
                  <a:lnTo>
                    <a:pt x="1112234" y="1103948"/>
                  </a:lnTo>
                  <a:cubicBezTo>
                    <a:pt x="1112234" y="1142429"/>
                    <a:pt x="1080706" y="1173956"/>
                    <a:pt x="1042225" y="1173956"/>
                  </a:cubicBezTo>
                  <a:lnTo>
                    <a:pt x="743236" y="1173956"/>
                  </a:lnTo>
                  <a:cubicBezTo>
                    <a:pt x="740473" y="1173956"/>
                    <a:pt x="738092" y="1174052"/>
                    <a:pt x="735330" y="1174337"/>
                  </a:cubicBezTo>
                  <a:cubicBezTo>
                    <a:pt x="730567" y="1174814"/>
                    <a:pt x="725710" y="1175004"/>
                    <a:pt x="720757" y="1175004"/>
                  </a:cubicBezTo>
                  <a:lnTo>
                    <a:pt x="162782" y="1175004"/>
                  </a:lnTo>
                  <a:lnTo>
                    <a:pt x="162782" y="1111853"/>
                  </a:lnTo>
                  <a:cubicBezTo>
                    <a:pt x="162782" y="1067276"/>
                    <a:pt x="126397" y="1030891"/>
                    <a:pt x="81820" y="1030891"/>
                  </a:cubicBezTo>
                  <a:lnTo>
                    <a:pt x="70009" y="1030891"/>
                  </a:lnTo>
                  <a:cubicBezTo>
                    <a:pt x="31528" y="1030891"/>
                    <a:pt x="0" y="999363"/>
                    <a:pt x="0" y="960882"/>
                  </a:cubicBezTo>
                  <a:lnTo>
                    <a:pt x="0" y="522446"/>
                  </a:lnTo>
                  <a:cubicBezTo>
                    <a:pt x="0" y="483965"/>
                    <a:pt x="31528" y="452438"/>
                    <a:pt x="70009" y="452438"/>
                  </a:cubicBezTo>
                  <a:lnTo>
                    <a:pt x="81153" y="452438"/>
                  </a:lnTo>
                  <a:cubicBezTo>
                    <a:pt x="125730" y="452438"/>
                    <a:pt x="162115" y="416052"/>
                    <a:pt x="162115" y="371475"/>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3" name="Freeform: Shape 62">
              <a:extLst>
                <a:ext uri="{FF2B5EF4-FFF2-40B4-BE49-F238E27FC236}">
                  <a16:creationId xmlns:a16="http://schemas.microsoft.com/office/drawing/2014/main" id="{6413D5FD-88A1-4E99-8BF3-01C6F0698E93}"/>
                </a:ext>
              </a:extLst>
            </p:cNvPr>
            <p:cNvSpPr/>
            <p:nvPr/>
          </p:nvSpPr>
          <p:spPr>
            <a:xfrm>
              <a:off x="2763124" y="1790874"/>
              <a:ext cx="304800" cy="536924"/>
            </a:xfrm>
            <a:custGeom>
              <a:avLst/>
              <a:gdLst>
                <a:gd name="connsiteX0" fmla="*/ 303657 w 304800"/>
                <a:gd name="connsiteY0" fmla="*/ 536639 h 536924"/>
                <a:gd name="connsiteX1" fmla="*/ 304800 w 304800"/>
                <a:gd name="connsiteY1" fmla="*/ 57626 h 536924"/>
                <a:gd name="connsiteX2" fmla="*/ 247174 w 304800"/>
                <a:gd name="connsiteY2" fmla="*/ 0 h 536924"/>
                <a:gd name="connsiteX3" fmla="*/ 227076 w 304800"/>
                <a:gd name="connsiteY3" fmla="*/ 0 h 536924"/>
                <a:gd name="connsiteX4" fmla="*/ 169450 w 304800"/>
                <a:gd name="connsiteY4" fmla="*/ 57626 h 536924"/>
                <a:gd name="connsiteX5" fmla="*/ 169450 w 304800"/>
                <a:gd name="connsiteY5" fmla="*/ 66866 h 536924"/>
                <a:gd name="connsiteX6" fmla="*/ 88487 w 304800"/>
                <a:gd name="connsiteY6" fmla="*/ 147828 h 536924"/>
                <a:gd name="connsiteX7" fmla="*/ 76390 w 304800"/>
                <a:gd name="connsiteY7" fmla="*/ 147828 h 536924"/>
                <a:gd name="connsiteX8" fmla="*/ 0 w 304800"/>
                <a:gd name="connsiteY8" fmla="*/ 224219 h 536924"/>
                <a:gd name="connsiteX9" fmla="*/ 0 w 304800"/>
                <a:gd name="connsiteY9" fmla="*/ 432340 h 536924"/>
                <a:gd name="connsiteX10" fmla="*/ 0 w 304800"/>
                <a:gd name="connsiteY10" fmla="*/ 434531 h 536924"/>
                <a:gd name="connsiteX11" fmla="*/ 0 w 304800"/>
                <a:gd name="connsiteY11" fmla="*/ 439579 h 536924"/>
                <a:gd name="connsiteX12" fmla="*/ 0 w 304800"/>
                <a:gd name="connsiteY12" fmla="*/ 441770 h 536924"/>
                <a:gd name="connsiteX13" fmla="*/ 0 w 304800"/>
                <a:gd name="connsiteY13" fmla="*/ 459772 h 536924"/>
                <a:gd name="connsiteX14" fmla="*/ 76390 w 304800"/>
                <a:gd name="connsiteY14" fmla="*/ 536162 h 536924"/>
                <a:gd name="connsiteX15" fmla="*/ 94107 w 304800"/>
                <a:gd name="connsiteY15" fmla="*/ 536162 h 536924"/>
                <a:gd name="connsiteX16" fmla="*/ 117824 w 304800"/>
                <a:gd name="connsiteY16" fmla="*/ 536924 h 536924"/>
                <a:gd name="connsiteX17" fmla="*/ 303657 w 304800"/>
                <a:gd name="connsiteY17" fmla="*/ 536639 h 53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536924">
                  <a:moveTo>
                    <a:pt x="303657" y="536639"/>
                  </a:moveTo>
                  <a:lnTo>
                    <a:pt x="304800" y="57626"/>
                  </a:lnTo>
                  <a:cubicBezTo>
                    <a:pt x="304800" y="25908"/>
                    <a:pt x="278892" y="0"/>
                    <a:pt x="247174" y="0"/>
                  </a:cubicBezTo>
                  <a:lnTo>
                    <a:pt x="227076" y="0"/>
                  </a:lnTo>
                  <a:cubicBezTo>
                    <a:pt x="195358" y="0"/>
                    <a:pt x="169450" y="25908"/>
                    <a:pt x="169450" y="57626"/>
                  </a:cubicBezTo>
                  <a:lnTo>
                    <a:pt x="169450" y="66866"/>
                  </a:lnTo>
                  <a:cubicBezTo>
                    <a:pt x="169450" y="111443"/>
                    <a:pt x="133064" y="147828"/>
                    <a:pt x="88487" y="147828"/>
                  </a:cubicBezTo>
                  <a:lnTo>
                    <a:pt x="76390" y="147828"/>
                  </a:lnTo>
                  <a:cubicBezTo>
                    <a:pt x="34385" y="147828"/>
                    <a:pt x="0" y="182213"/>
                    <a:pt x="0" y="224219"/>
                  </a:cubicBezTo>
                  <a:lnTo>
                    <a:pt x="0" y="432340"/>
                  </a:lnTo>
                  <a:cubicBezTo>
                    <a:pt x="0" y="433102"/>
                    <a:pt x="0" y="433864"/>
                    <a:pt x="0" y="434531"/>
                  </a:cubicBezTo>
                  <a:cubicBezTo>
                    <a:pt x="95" y="436340"/>
                    <a:pt x="95" y="437864"/>
                    <a:pt x="0" y="439579"/>
                  </a:cubicBezTo>
                  <a:cubicBezTo>
                    <a:pt x="0" y="440341"/>
                    <a:pt x="0" y="441008"/>
                    <a:pt x="0" y="441770"/>
                  </a:cubicBezTo>
                  <a:lnTo>
                    <a:pt x="0" y="459772"/>
                  </a:lnTo>
                  <a:cubicBezTo>
                    <a:pt x="0" y="501777"/>
                    <a:pt x="34385" y="536162"/>
                    <a:pt x="76390" y="536162"/>
                  </a:cubicBezTo>
                  <a:lnTo>
                    <a:pt x="94107" y="536162"/>
                  </a:lnTo>
                  <a:cubicBezTo>
                    <a:pt x="102775" y="536162"/>
                    <a:pt x="108871" y="536924"/>
                    <a:pt x="117824" y="536924"/>
                  </a:cubicBezTo>
                  <a:cubicBezTo>
                    <a:pt x="176022" y="536924"/>
                    <a:pt x="238982" y="536829"/>
                    <a:pt x="303657" y="53663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4" name="Freeform: Shape 63">
              <a:extLst>
                <a:ext uri="{FF2B5EF4-FFF2-40B4-BE49-F238E27FC236}">
                  <a16:creationId xmlns:a16="http://schemas.microsoft.com/office/drawing/2014/main" id="{D11FD7DF-3CC7-4E66-9DD8-A15D26C32876}"/>
                </a:ext>
              </a:extLst>
            </p:cNvPr>
            <p:cNvSpPr/>
            <p:nvPr/>
          </p:nvSpPr>
          <p:spPr>
            <a:xfrm>
              <a:off x="3109262" y="2015378"/>
              <a:ext cx="266318" cy="238580"/>
            </a:xfrm>
            <a:custGeom>
              <a:avLst/>
              <a:gdLst>
                <a:gd name="connsiteX0" fmla="*/ 208693 w 266318"/>
                <a:gd name="connsiteY0" fmla="*/ 71533 h 238580"/>
                <a:gd name="connsiteX1" fmla="*/ 188690 w 266318"/>
                <a:gd name="connsiteY1" fmla="*/ 71533 h 238580"/>
                <a:gd name="connsiteX2" fmla="*/ 183547 w 266318"/>
                <a:gd name="connsiteY2" fmla="*/ 71818 h 238580"/>
                <a:gd name="connsiteX3" fmla="*/ 183547 w 266318"/>
                <a:gd name="connsiteY3" fmla="*/ 15907 h 238580"/>
                <a:gd name="connsiteX4" fmla="*/ 148876 w 266318"/>
                <a:gd name="connsiteY4" fmla="*/ 286 h 238580"/>
                <a:gd name="connsiteX5" fmla="*/ 136779 w 266318"/>
                <a:gd name="connsiteY5" fmla="*/ 286 h 238580"/>
                <a:gd name="connsiteX6" fmla="*/ 46006 w 266318"/>
                <a:gd name="connsiteY6" fmla="*/ 0 h 238580"/>
                <a:gd name="connsiteX7" fmla="*/ 0 w 266318"/>
                <a:gd name="connsiteY7" fmla="*/ 46006 h 238580"/>
                <a:gd name="connsiteX8" fmla="*/ 0 w 266318"/>
                <a:gd name="connsiteY8" fmla="*/ 134969 h 238580"/>
                <a:gd name="connsiteX9" fmla="*/ 0 w 266318"/>
                <a:gd name="connsiteY9" fmla="*/ 174403 h 238580"/>
                <a:gd name="connsiteX10" fmla="*/ 0 w 266318"/>
                <a:gd name="connsiteY10" fmla="*/ 177451 h 238580"/>
                <a:gd name="connsiteX11" fmla="*/ 0 w 266318"/>
                <a:gd name="connsiteY11" fmla="*/ 178784 h 238580"/>
                <a:gd name="connsiteX12" fmla="*/ 0 w 266318"/>
                <a:gd name="connsiteY12" fmla="*/ 189643 h 238580"/>
                <a:gd name="connsiteX13" fmla="*/ 48768 w 266318"/>
                <a:gd name="connsiteY13" fmla="*/ 238411 h 238580"/>
                <a:gd name="connsiteX14" fmla="*/ 56674 w 266318"/>
                <a:gd name="connsiteY14" fmla="*/ 238411 h 238580"/>
                <a:gd name="connsiteX15" fmla="*/ 180213 w 266318"/>
                <a:gd name="connsiteY15" fmla="*/ 238411 h 238580"/>
                <a:gd name="connsiteX16" fmla="*/ 188690 w 266318"/>
                <a:gd name="connsiteY16" fmla="*/ 238411 h 238580"/>
                <a:gd name="connsiteX17" fmla="*/ 208693 w 266318"/>
                <a:gd name="connsiteY17" fmla="*/ 238411 h 238580"/>
                <a:gd name="connsiteX18" fmla="*/ 266319 w 266318"/>
                <a:gd name="connsiteY18" fmla="*/ 180784 h 238580"/>
                <a:gd name="connsiteX19" fmla="*/ 266319 w 266318"/>
                <a:gd name="connsiteY19" fmla="*/ 129159 h 238580"/>
                <a:gd name="connsiteX20" fmla="*/ 208693 w 266318"/>
                <a:gd name="connsiteY20" fmla="*/ 71533 h 2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318" h="238580">
                  <a:moveTo>
                    <a:pt x="208693" y="71533"/>
                  </a:moveTo>
                  <a:lnTo>
                    <a:pt x="188690" y="71533"/>
                  </a:lnTo>
                  <a:cubicBezTo>
                    <a:pt x="186976" y="71533"/>
                    <a:pt x="185261" y="71628"/>
                    <a:pt x="183547" y="71818"/>
                  </a:cubicBezTo>
                  <a:lnTo>
                    <a:pt x="183547" y="15907"/>
                  </a:lnTo>
                  <a:cubicBezTo>
                    <a:pt x="183547" y="-3143"/>
                    <a:pt x="167926" y="286"/>
                    <a:pt x="148876" y="286"/>
                  </a:cubicBezTo>
                  <a:lnTo>
                    <a:pt x="136779" y="286"/>
                  </a:lnTo>
                  <a:cubicBezTo>
                    <a:pt x="117729" y="286"/>
                    <a:pt x="46006" y="0"/>
                    <a:pt x="46006" y="0"/>
                  </a:cubicBezTo>
                  <a:cubicBezTo>
                    <a:pt x="20669" y="0"/>
                    <a:pt x="0" y="20669"/>
                    <a:pt x="0" y="46006"/>
                  </a:cubicBezTo>
                  <a:lnTo>
                    <a:pt x="0" y="134969"/>
                  </a:lnTo>
                  <a:cubicBezTo>
                    <a:pt x="0" y="135446"/>
                    <a:pt x="0" y="173926"/>
                    <a:pt x="0" y="174403"/>
                  </a:cubicBezTo>
                  <a:cubicBezTo>
                    <a:pt x="0" y="175450"/>
                    <a:pt x="0" y="176403"/>
                    <a:pt x="0" y="177451"/>
                  </a:cubicBezTo>
                  <a:cubicBezTo>
                    <a:pt x="0" y="177927"/>
                    <a:pt x="0" y="178308"/>
                    <a:pt x="0" y="178784"/>
                  </a:cubicBezTo>
                  <a:lnTo>
                    <a:pt x="0" y="189643"/>
                  </a:lnTo>
                  <a:cubicBezTo>
                    <a:pt x="0" y="216503"/>
                    <a:pt x="22003" y="238411"/>
                    <a:pt x="48768" y="238411"/>
                  </a:cubicBezTo>
                  <a:lnTo>
                    <a:pt x="56674" y="238411"/>
                  </a:lnTo>
                  <a:cubicBezTo>
                    <a:pt x="61913" y="238411"/>
                    <a:pt x="142494" y="238506"/>
                    <a:pt x="180213" y="238411"/>
                  </a:cubicBezTo>
                  <a:cubicBezTo>
                    <a:pt x="182975" y="238792"/>
                    <a:pt x="185833" y="238411"/>
                    <a:pt x="188690" y="238411"/>
                  </a:cubicBezTo>
                  <a:lnTo>
                    <a:pt x="208693" y="238411"/>
                  </a:lnTo>
                  <a:cubicBezTo>
                    <a:pt x="240411" y="238411"/>
                    <a:pt x="266319" y="212503"/>
                    <a:pt x="266319" y="180784"/>
                  </a:cubicBezTo>
                  <a:lnTo>
                    <a:pt x="266319" y="129159"/>
                  </a:lnTo>
                  <a:cubicBezTo>
                    <a:pt x="266319" y="97441"/>
                    <a:pt x="240411" y="71533"/>
                    <a:pt x="208693" y="71533"/>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5" name="Freeform: Shape 64">
              <a:extLst>
                <a:ext uri="{FF2B5EF4-FFF2-40B4-BE49-F238E27FC236}">
                  <a16:creationId xmlns:a16="http://schemas.microsoft.com/office/drawing/2014/main" id="{5533A543-785C-48BD-ADF0-7CBB79F446CD}"/>
                </a:ext>
              </a:extLst>
            </p:cNvPr>
            <p:cNvSpPr/>
            <p:nvPr/>
          </p:nvSpPr>
          <p:spPr>
            <a:xfrm>
              <a:off x="2926191" y="4271089"/>
              <a:ext cx="135255" cy="274415"/>
            </a:xfrm>
            <a:custGeom>
              <a:avLst/>
              <a:gdLst>
                <a:gd name="connsiteX0" fmla="*/ 57626 w 135255"/>
                <a:gd name="connsiteY0" fmla="*/ 274415 h 274415"/>
                <a:gd name="connsiteX1" fmla="*/ 77629 w 135255"/>
                <a:gd name="connsiteY1" fmla="*/ 274415 h 274415"/>
                <a:gd name="connsiteX2" fmla="*/ 135255 w 135255"/>
                <a:gd name="connsiteY2" fmla="*/ 216789 h 274415"/>
                <a:gd name="connsiteX3" fmla="*/ 135255 w 135255"/>
                <a:gd name="connsiteY3" fmla="*/ 57626 h 274415"/>
                <a:gd name="connsiteX4" fmla="*/ 77629 w 135255"/>
                <a:gd name="connsiteY4" fmla="*/ 0 h 274415"/>
                <a:gd name="connsiteX5" fmla="*/ 57626 w 135255"/>
                <a:gd name="connsiteY5" fmla="*/ 0 h 274415"/>
                <a:gd name="connsiteX6" fmla="*/ 0 w 135255"/>
                <a:gd name="connsiteY6" fmla="*/ 57626 h 274415"/>
                <a:gd name="connsiteX7" fmla="*/ 0 w 135255"/>
                <a:gd name="connsiteY7" fmla="*/ 216789 h 274415"/>
                <a:gd name="connsiteX8" fmla="*/ 57626 w 135255"/>
                <a:gd name="connsiteY8" fmla="*/ 274415 h 27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5" h="274415">
                  <a:moveTo>
                    <a:pt x="57626" y="274415"/>
                  </a:moveTo>
                  <a:lnTo>
                    <a:pt x="77629" y="274415"/>
                  </a:lnTo>
                  <a:cubicBezTo>
                    <a:pt x="109347" y="274415"/>
                    <a:pt x="135255" y="248507"/>
                    <a:pt x="135255" y="216789"/>
                  </a:cubicBezTo>
                  <a:lnTo>
                    <a:pt x="135255" y="57626"/>
                  </a:lnTo>
                  <a:cubicBezTo>
                    <a:pt x="135255" y="25908"/>
                    <a:pt x="109347" y="0"/>
                    <a:pt x="77629" y="0"/>
                  </a:cubicBezTo>
                  <a:lnTo>
                    <a:pt x="57626" y="0"/>
                  </a:lnTo>
                  <a:cubicBezTo>
                    <a:pt x="25908" y="0"/>
                    <a:pt x="0" y="25908"/>
                    <a:pt x="0" y="57626"/>
                  </a:cubicBezTo>
                  <a:lnTo>
                    <a:pt x="0" y="216789"/>
                  </a:lnTo>
                  <a:cubicBezTo>
                    <a:pt x="0" y="248412"/>
                    <a:pt x="25908" y="274415"/>
                    <a:pt x="57626" y="274415"/>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6" name="Freeform: Shape 65">
              <a:extLst>
                <a:ext uri="{FF2B5EF4-FFF2-40B4-BE49-F238E27FC236}">
                  <a16:creationId xmlns:a16="http://schemas.microsoft.com/office/drawing/2014/main" id="{DF251ECA-FFEA-4F2C-9464-2E5641CE9989}"/>
                </a:ext>
              </a:extLst>
            </p:cNvPr>
            <p:cNvSpPr/>
            <p:nvPr/>
          </p:nvSpPr>
          <p:spPr>
            <a:xfrm>
              <a:off x="2129520" y="2520773"/>
              <a:ext cx="621982" cy="435008"/>
            </a:xfrm>
            <a:custGeom>
              <a:avLst/>
              <a:gdLst>
                <a:gd name="connsiteX0" fmla="*/ 331280 w 621982"/>
                <a:gd name="connsiteY0" fmla="*/ 2 h 435008"/>
                <a:gd name="connsiteX1" fmla="*/ 247841 w 621982"/>
                <a:gd name="connsiteY1" fmla="*/ 83441 h 435008"/>
                <a:gd name="connsiteX2" fmla="*/ 247841 w 621982"/>
                <a:gd name="connsiteY2" fmla="*/ 146592 h 435008"/>
                <a:gd name="connsiteX3" fmla="*/ 83439 w 621982"/>
                <a:gd name="connsiteY3" fmla="*/ 146592 h 435008"/>
                <a:gd name="connsiteX4" fmla="*/ 0 w 621982"/>
                <a:gd name="connsiteY4" fmla="*/ 230030 h 435008"/>
                <a:gd name="connsiteX5" fmla="*/ 0 w 621982"/>
                <a:gd name="connsiteY5" fmla="*/ 283751 h 435008"/>
                <a:gd name="connsiteX6" fmla="*/ 232410 w 621982"/>
                <a:gd name="connsiteY6" fmla="*/ 283751 h 435008"/>
                <a:gd name="connsiteX7" fmla="*/ 315849 w 621982"/>
                <a:gd name="connsiteY7" fmla="*/ 367190 h 435008"/>
                <a:gd name="connsiteX8" fmla="*/ 393001 w 621982"/>
                <a:gd name="connsiteY8" fmla="*/ 435009 h 435008"/>
                <a:gd name="connsiteX9" fmla="*/ 459867 w 621982"/>
                <a:gd name="connsiteY9" fmla="*/ 434437 h 435008"/>
                <a:gd name="connsiteX10" fmla="*/ 459867 w 621982"/>
                <a:gd name="connsiteY10" fmla="*/ 360142 h 435008"/>
                <a:gd name="connsiteX11" fmla="*/ 529876 w 621982"/>
                <a:gd name="connsiteY11" fmla="*/ 290133 h 435008"/>
                <a:gd name="connsiteX12" fmla="*/ 541020 w 621982"/>
                <a:gd name="connsiteY12" fmla="*/ 290133 h 435008"/>
                <a:gd name="connsiteX13" fmla="*/ 621983 w 621982"/>
                <a:gd name="connsiteY13" fmla="*/ 209171 h 435008"/>
                <a:gd name="connsiteX14" fmla="*/ 621983 w 621982"/>
                <a:gd name="connsiteY14" fmla="*/ 2097 h 435008"/>
                <a:gd name="connsiteX15" fmla="*/ 331280 w 621982"/>
                <a:gd name="connsiteY15" fmla="*/ 2 h 43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1982" h="435008">
                  <a:moveTo>
                    <a:pt x="331280" y="2"/>
                  </a:moveTo>
                  <a:cubicBezTo>
                    <a:pt x="285369" y="-284"/>
                    <a:pt x="247841" y="37530"/>
                    <a:pt x="247841" y="83441"/>
                  </a:cubicBezTo>
                  <a:lnTo>
                    <a:pt x="247841" y="146592"/>
                  </a:lnTo>
                  <a:lnTo>
                    <a:pt x="83439" y="146592"/>
                  </a:lnTo>
                  <a:cubicBezTo>
                    <a:pt x="37529" y="146592"/>
                    <a:pt x="0" y="184120"/>
                    <a:pt x="0" y="230030"/>
                  </a:cubicBezTo>
                  <a:lnTo>
                    <a:pt x="0" y="283751"/>
                  </a:lnTo>
                  <a:lnTo>
                    <a:pt x="232410" y="283751"/>
                  </a:lnTo>
                  <a:cubicBezTo>
                    <a:pt x="278321" y="283751"/>
                    <a:pt x="315849" y="321280"/>
                    <a:pt x="315849" y="367190"/>
                  </a:cubicBezTo>
                  <a:cubicBezTo>
                    <a:pt x="312706" y="406052"/>
                    <a:pt x="339947" y="427103"/>
                    <a:pt x="393001" y="435009"/>
                  </a:cubicBezTo>
                  <a:lnTo>
                    <a:pt x="459867" y="434437"/>
                  </a:lnTo>
                  <a:lnTo>
                    <a:pt x="459867" y="360142"/>
                  </a:lnTo>
                  <a:cubicBezTo>
                    <a:pt x="459867" y="321661"/>
                    <a:pt x="491395" y="290133"/>
                    <a:pt x="529876" y="290133"/>
                  </a:cubicBezTo>
                  <a:lnTo>
                    <a:pt x="541020" y="290133"/>
                  </a:lnTo>
                  <a:cubicBezTo>
                    <a:pt x="585597" y="290133"/>
                    <a:pt x="621983" y="253748"/>
                    <a:pt x="621983" y="209171"/>
                  </a:cubicBezTo>
                  <a:lnTo>
                    <a:pt x="621983" y="2097"/>
                  </a:lnTo>
                  <a:lnTo>
                    <a:pt x="331280" y="2"/>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7" name="Freeform: Shape 66">
              <a:extLst>
                <a:ext uri="{FF2B5EF4-FFF2-40B4-BE49-F238E27FC236}">
                  <a16:creationId xmlns:a16="http://schemas.microsoft.com/office/drawing/2014/main" id="{18B987F5-EBC0-43E8-B606-0AC7F7AE8A40}"/>
                </a:ext>
              </a:extLst>
            </p:cNvPr>
            <p:cNvSpPr/>
            <p:nvPr/>
          </p:nvSpPr>
          <p:spPr>
            <a:xfrm>
              <a:off x="1962262" y="2804429"/>
              <a:ext cx="627126" cy="447484"/>
            </a:xfrm>
            <a:custGeom>
              <a:avLst/>
              <a:gdLst>
                <a:gd name="connsiteX0" fmla="*/ 627126 w 627126"/>
                <a:gd name="connsiteY0" fmla="*/ 447485 h 447484"/>
                <a:gd name="connsiteX1" fmla="*/ 627126 w 627126"/>
                <a:gd name="connsiteY1" fmla="*/ 150686 h 447484"/>
                <a:gd name="connsiteX2" fmla="*/ 560260 w 627126"/>
                <a:gd name="connsiteY2" fmla="*/ 151257 h 447484"/>
                <a:gd name="connsiteX3" fmla="*/ 483108 w 627126"/>
                <a:gd name="connsiteY3" fmla="*/ 83439 h 447484"/>
                <a:gd name="connsiteX4" fmla="*/ 399669 w 627126"/>
                <a:gd name="connsiteY4" fmla="*/ 0 h 447484"/>
                <a:gd name="connsiteX5" fmla="*/ 168212 w 627126"/>
                <a:gd name="connsiteY5" fmla="*/ 0 h 447484"/>
                <a:gd name="connsiteX6" fmla="*/ 168212 w 627126"/>
                <a:gd name="connsiteY6" fmla="*/ 69437 h 447484"/>
                <a:gd name="connsiteX7" fmla="*/ 84106 w 627126"/>
                <a:gd name="connsiteY7" fmla="*/ 158401 h 447484"/>
                <a:gd name="connsiteX8" fmla="*/ 0 w 627126"/>
                <a:gd name="connsiteY8" fmla="*/ 158401 h 447484"/>
                <a:gd name="connsiteX9" fmla="*/ 381 w 627126"/>
                <a:gd name="connsiteY9" fmla="*/ 212788 h 447484"/>
                <a:gd name="connsiteX10" fmla="*/ 83820 w 627126"/>
                <a:gd name="connsiteY10" fmla="*/ 296228 h 447484"/>
                <a:gd name="connsiteX11" fmla="*/ 225457 w 627126"/>
                <a:gd name="connsiteY11" fmla="*/ 296228 h 447484"/>
                <a:gd name="connsiteX12" fmla="*/ 318421 w 627126"/>
                <a:gd name="connsiteY12" fmla="*/ 364046 h 447484"/>
                <a:gd name="connsiteX13" fmla="*/ 401860 w 627126"/>
                <a:gd name="connsiteY13" fmla="*/ 447485 h 447484"/>
                <a:gd name="connsiteX14" fmla="*/ 627126 w 627126"/>
                <a:gd name="connsiteY14" fmla="*/ 447485 h 44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7126" h="447484">
                  <a:moveTo>
                    <a:pt x="627126" y="447485"/>
                  </a:moveTo>
                  <a:lnTo>
                    <a:pt x="627126" y="150686"/>
                  </a:lnTo>
                  <a:lnTo>
                    <a:pt x="560260" y="151257"/>
                  </a:lnTo>
                  <a:cubicBezTo>
                    <a:pt x="507301" y="143351"/>
                    <a:pt x="479965" y="122301"/>
                    <a:pt x="483108" y="83439"/>
                  </a:cubicBezTo>
                  <a:cubicBezTo>
                    <a:pt x="483108" y="37529"/>
                    <a:pt x="445580" y="0"/>
                    <a:pt x="399669" y="0"/>
                  </a:cubicBezTo>
                  <a:lnTo>
                    <a:pt x="168212" y="0"/>
                  </a:lnTo>
                  <a:lnTo>
                    <a:pt x="168212" y="69437"/>
                  </a:lnTo>
                  <a:cubicBezTo>
                    <a:pt x="168212" y="115348"/>
                    <a:pt x="130016" y="158401"/>
                    <a:pt x="84106" y="158401"/>
                  </a:cubicBezTo>
                  <a:lnTo>
                    <a:pt x="0" y="158401"/>
                  </a:lnTo>
                  <a:lnTo>
                    <a:pt x="381" y="212788"/>
                  </a:lnTo>
                  <a:cubicBezTo>
                    <a:pt x="667" y="258699"/>
                    <a:pt x="37909" y="296228"/>
                    <a:pt x="83820" y="296228"/>
                  </a:cubicBezTo>
                  <a:lnTo>
                    <a:pt x="225457" y="296228"/>
                  </a:lnTo>
                  <a:cubicBezTo>
                    <a:pt x="307753" y="293180"/>
                    <a:pt x="320326" y="324993"/>
                    <a:pt x="318421" y="364046"/>
                  </a:cubicBezTo>
                  <a:cubicBezTo>
                    <a:pt x="318421" y="409956"/>
                    <a:pt x="355949" y="447485"/>
                    <a:pt x="401860" y="447485"/>
                  </a:cubicBezTo>
                  <a:lnTo>
                    <a:pt x="627126" y="447485"/>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8" name="Freeform: Shape 67">
              <a:extLst>
                <a:ext uri="{FF2B5EF4-FFF2-40B4-BE49-F238E27FC236}">
                  <a16:creationId xmlns:a16="http://schemas.microsoft.com/office/drawing/2014/main" id="{4BAD3166-2690-4E5E-BEB1-1C4DA794B9C2}"/>
                </a:ext>
              </a:extLst>
            </p:cNvPr>
            <p:cNvSpPr/>
            <p:nvPr/>
          </p:nvSpPr>
          <p:spPr>
            <a:xfrm>
              <a:off x="2437369" y="3095990"/>
              <a:ext cx="152019" cy="156019"/>
            </a:xfrm>
            <a:custGeom>
              <a:avLst/>
              <a:gdLst>
                <a:gd name="connsiteX0" fmla="*/ 152019 w 152019"/>
                <a:gd name="connsiteY0" fmla="*/ 0 h 156019"/>
                <a:gd name="connsiteX1" fmla="*/ 57626 w 152019"/>
                <a:gd name="connsiteY1" fmla="*/ 0 h 156019"/>
                <a:gd name="connsiteX2" fmla="*/ 0 w 152019"/>
                <a:gd name="connsiteY2" fmla="*/ 57626 h 156019"/>
                <a:gd name="connsiteX3" fmla="*/ 0 w 152019"/>
                <a:gd name="connsiteY3" fmla="*/ 156019 h 156019"/>
                <a:gd name="connsiteX4" fmla="*/ 152019 w 152019"/>
                <a:gd name="connsiteY4" fmla="*/ 156019 h 156019"/>
                <a:gd name="connsiteX5" fmla="*/ 152019 w 152019"/>
                <a:gd name="connsiteY5" fmla="*/ 0 h 15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019" h="156019">
                  <a:moveTo>
                    <a:pt x="152019" y="0"/>
                  </a:moveTo>
                  <a:lnTo>
                    <a:pt x="57626" y="0"/>
                  </a:lnTo>
                  <a:cubicBezTo>
                    <a:pt x="25908" y="0"/>
                    <a:pt x="0" y="25908"/>
                    <a:pt x="0" y="57626"/>
                  </a:cubicBezTo>
                  <a:lnTo>
                    <a:pt x="0" y="156019"/>
                  </a:lnTo>
                  <a:lnTo>
                    <a:pt x="152019" y="156019"/>
                  </a:lnTo>
                  <a:lnTo>
                    <a:pt x="152019"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9" name="Freeform: Shape 68">
              <a:extLst>
                <a:ext uri="{FF2B5EF4-FFF2-40B4-BE49-F238E27FC236}">
                  <a16:creationId xmlns:a16="http://schemas.microsoft.com/office/drawing/2014/main" id="{3F5D6D0C-AA48-4000-8CF4-536B6532A88B}"/>
                </a:ext>
              </a:extLst>
            </p:cNvPr>
            <p:cNvSpPr/>
            <p:nvPr/>
          </p:nvSpPr>
          <p:spPr>
            <a:xfrm>
              <a:off x="866029" y="2961973"/>
              <a:ext cx="1885569" cy="1438655"/>
            </a:xfrm>
            <a:custGeom>
              <a:avLst/>
              <a:gdLst>
                <a:gd name="connsiteX0" fmla="*/ 945452 w 1885569"/>
                <a:gd name="connsiteY0" fmla="*/ 114776 h 1438655"/>
                <a:gd name="connsiteX1" fmla="*/ 945452 w 1885569"/>
                <a:gd name="connsiteY1" fmla="*/ 205835 h 1438655"/>
                <a:gd name="connsiteX2" fmla="*/ 864489 w 1885569"/>
                <a:gd name="connsiteY2" fmla="*/ 286798 h 1438655"/>
                <a:gd name="connsiteX3" fmla="*/ 558165 w 1885569"/>
                <a:gd name="connsiteY3" fmla="*/ 286798 h 1438655"/>
                <a:gd name="connsiteX4" fmla="*/ 475393 w 1885569"/>
                <a:gd name="connsiteY4" fmla="*/ 359759 h 1438655"/>
                <a:gd name="connsiteX5" fmla="*/ 395002 w 1885569"/>
                <a:gd name="connsiteY5" fmla="*/ 430530 h 1438655"/>
                <a:gd name="connsiteX6" fmla="*/ 57626 w 1885569"/>
                <a:gd name="connsiteY6" fmla="*/ 430530 h 1438655"/>
                <a:gd name="connsiteX7" fmla="*/ 0 w 1885569"/>
                <a:gd name="connsiteY7" fmla="*/ 488156 h 1438655"/>
                <a:gd name="connsiteX8" fmla="*/ 0 w 1885569"/>
                <a:gd name="connsiteY8" fmla="*/ 508159 h 1438655"/>
                <a:gd name="connsiteX9" fmla="*/ 57626 w 1885569"/>
                <a:gd name="connsiteY9" fmla="*/ 565785 h 1438655"/>
                <a:gd name="connsiteX10" fmla="*/ 222885 w 1885569"/>
                <a:gd name="connsiteY10" fmla="*/ 565785 h 1438655"/>
                <a:gd name="connsiteX11" fmla="*/ 303848 w 1885569"/>
                <a:gd name="connsiteY11" fmla="*/ 645890 h 1438655"/>
                <a:gd name="connsiteX12" fmla="*/ 361474 w 1885569"/>
                <a:gd name="connsiteY12" fmla="*/ 702850 h 1438655"/>
                <a:gd name="connsiteX13" fmla="*/ 550736 w 1885569"/>
                <a:gd name="connsiteY13" fmla="*/ 702850 h 1438655"/>
                <a:gd name="connsiteX14" fmla="*/ 631698 w 1885569"/>
                <a:gd name="connsiteY14" fmla="*/ 783812 h 1438655"/>
                <a:gd name="connsiteX15" fmla="*/ 631698 w 1885569"/>
                <a:gd name="connsiteY15" fmla="*/ 924687 h 1438655"/>
                <a:gd name="connsiteX16" fmla="*/ 550736 w 1885569"/>
                <a:gd name="connsiteY16" fmla="*/ 1005649 h 1438655"/>
                <a:gd name="connsiteX17" fmla="*/ 536257 w 1885569"/>
                <a:gd name="connsiteY17" fmla="*/ 1005649 h 1438655"/>
                <a:gd name="connsiteX18" fmla="*/ 478631 w 1885569"/>
                <a:gd name="connsiteY18" fmla="*/ 1063276 h 1438655"/>
                <a:gd name="connsiteX19" fmla="*/ 478631 w 1885569"/>
                <a:gd name="connsiteY19" fmla="*/ 1220914 h 1438655"/>
                <a:gd name="connsiteX20" fmla="*/ 397669 w 1885569"/>
                <a:gd name="connsiteY20" fmla="*/ 1301877 h 1438655"/>
                <a:gd name="connsiteX21" fmla="*/ 883634 w 1885569"/>
                <a:gd name="connsiteY21" fmla="*/ 1301877 h 1438655"/>
                <a:gd name="connsiteX22" fmla="*/ 941261 w 1885569"/>
                <a:gd name="connsiteY22" fmla="*/ 1359503 h 1438655"/>
                <a:gd name="connsiteX23" fmla="*/ 941261 w 1885569"/>
                <a:gd name="connsiteY23" fmla="*/ 1380363 h 1438655"/>
                <a:gd name="connsiteX24" fmla="*/ 941546 w 1885569"/>
                <a:gd name="connsiteY24" fmla="*/ 1380363 h 1438655"/>
                <a:gd name="connsiteX25" fmla="*/ 941546 w 1885569"/>
                <a:gd name="connsiteY25" fmla="*/ 1381030 h 1438655"/>
                <a:gd name="connsiteX26" fmla="*/ 999173 w 1885569"/>
                <a:gd name="connsiteY26" fmla="*/ 1438656 h 1438655"/>
                <a:gd name="connsiteX27" fmla="*/ 1261110 w 1885569"/>
                <a:gd name="connsiteY27" fmla="*/ 1438656 h 1438655"/>
                <a:gd name="connsiteX28" fmla="*/ 1261110 w 1885569"/>
                <a:gd name="connsiteY28" fmla="*/ 1362647 h 1438655"/>
                <a:gd name="connsiteX29" fmla="*/ 1318736 w 1885569"/>
                <a:gd name="connsiteY29" fmla="*/ 1305020 h 1438655"/>
                <a:gd name="connsiteX30" fmla="*/ 1765459 w 1885569"/>
                <a:gd name="connsiteY30" fmla="*/ 1305020 h 1438655"/>
                <a:gd name="connsiteX31" fmla="*/ 1785557 w 1885569"/>
                <a:gd name="connsiteY31" fmla="*/ 1304544 h 1438655"/>
                <a:gd name="connsiteX32" fmla="*/ 1827181 w 1885569"/>
                <a:gd name="connsiteY32" fmla="*/ 1303115 h 1438655"/>
                <a:gd name="connsiteX33" fmla="*/ 1884807 w 1885569"/>
                <a:gd name="connsiteY33" fmla="*/ 1245489 h 1438655"/>
                <a:gd name="connsiteX34" fmla="*/ 1885093 w 1885569"/>
                <a:gd name="connsiteY34" fmla="*/ 865251 h 1438655"/>
                <a:gd name="connsiteX35" fmla="*/ 1789367 w 1885569"/>
                <a:gd name="connsiteY35" fmla="*/ 865251 h 1438655"/>
                <a:gd name="connsiteX36" fmla="*/ 1731740 w 1885569"/>
                <a:gd name="connsiteY36" fmla="*/ 807625 h 1438655"/>
                <a:gd name="connsiteX37" fmla="*/ 1731740 w 1885569"/>
                <a:gd name="connsiteY37" fmla="*/ 629983 h 1438655"/>
                <a:gd name="connsiteX38" fmla="*/ 1789367 w 1885569"/>
                <a:gd name="connsiteY38" fmla="*/ 572357 h 1438655"/>
                <a:gd name="connsiteX39" fmla="*/ 1885474 w 1885569"/>
                <a:gd name="connsiteY39" fmla="*/ 572357 h 1438655"/>
                <a:gd name="connsiteX40" fmla="*/ 1885569 w 1885569"/>
                <a:gd name="connsiteY40" fmla="*/ 495967 h 1438655"/>
                <a:gd name="connsiteX41" fmla="*/ 1805464 w 1885569"/>
                <a:gd name="connsiteY41" fmla="*/ 427101 h 1438655"/>
                <a:gd name="connsiteX42" fmla="*/ 1793653 w 1885569"/>
                <a:gd name="connsiteY42" fmla="*/ 427101 h 1438655"/>
                <a:gd name="connsiteX43" fmla="*/ 1723644 w 1885569"/>
                <a:gd name="connsiteY43" fmla="*/ 357092 h 1438655"/>
                <a:gd name="connsiteX44" fmla="*/ 1723644 w 1885569"/>
                <a:gd name="connsiteY44" fmla="*/ 289750 h 1438655"/>
                <a:gd name="connsiteX45" fmla="*/ 1498378 w 1885569"/>
                <a:gd name="connsiteY45" fmla="*/ 289750 h 1438655"/>
                <a:gd name="connsiteX46" fmla="*/ 1417225 w 1885569"/>
                <a:gd name="connsiteY46" fmla="*/ 225742 h 1438655"/>
                <a:gd name="connsiteX47" fmla="*/ 1415034 w 1885569"/>
                <a:gd name="connsiteY47" fmla="*/ 204025 h 1438655"/>
                <a:gd name="connsiteX48" fmla="*/ 1323308 w 1885569"/>
                <a:gd name="connsiteY48" fmla="*/ 138398 h 1438655"/>
                <a:gd name="connsiteX49" fmla="*/ 1320641 w 1885569"/>
                <a:gd name="connsiteY49" fmla="*/ 138398 h 1438655"/>
                <a:gd name="connsiteX50" fmla="*/ 1180338 w 1885569"/>
                <a:gd name="connsiteY50" fmla="*/ 138398 h 1438655"/>
                <a:gd name="connsiteX51" fmla="*/ 1121950 w 1885569"/>
                <a:gd name="connsiteY51" fmla="*/ 114490 h 1438655"/>
                <a:gd name="connsiteX52" fmla="*/ 1121950 w 1885569"/>
                <a:gd name="connsiteY52" fmla="*/ 114490 h 1438655"/>
                <a:gd name="connsiteX53" fmla="*/ 1115092 w 1885569"/>
                <a:gd name="connsiteY53" fmla="*/ 106966 h 1438655"/>
                <a:gd name="connsiteX54" fmla="*/ 1114616 w 1885569"/>
                <a:gd name="connsiteY54" fmla="*/ 106299 h 1438655"/>
                <a:gd name="connsiteX55" fmla="*/ 1114520 w 1885569"/>
                <a:gd name="connsiteY55" fmla="*/ 106204 h 1438655"/>
                <a:gd name="connsiteX56" fmla="*/ 1114425 w 1885569"/>
                <a:gd name="connsiteY56" fmla="*/ 106108 h 1438655"/>
                <a:gd name="connsiteX57" fmla="*/ 1109853 w 1885569"/>
                <a:gd name="connsiteY57" fmla="*/ 99631 h 1438655"/>
                <a:gd name="connsiteX58" fmla="*/ 1109853 w 1885569"/>
                <a:gd name="connsiteY58" fmla="*/ 99631 h 1438655"/>
                <a:gd name="connsiteX59" fmla="*/ 1108805 w 1885569"/>
                <a:gd name="connsiteY59" fmla="*/ 97917 h 1438655"/>
                <a:gd name="connsiteX60" fmla="*/ 1108805 w 1885569"/>
                <a:gd name="connsiteY60" fmla="*/ 97822 h 1438655"/>
                <a:gd name="connsiteX61" fmla="*/ 1108424 w 1885569"/>
                <a:gd name="connsiteY61" fmla="*/ 97155 h 1438655"/>
                <a:gd name="connsiteX62" fmla="*/ 1108329 w 1885569"/>
                <a:gd name="connsiteY62" fmla="*/ 96964 h 1438655"/>
                <a:gd name="connsiteX63" fmla="*/ 1107853 w 1885569"/>
                <a:gd name="connsiteY63" fmla="*/ 96107 h 1438655"/>
                <a:gd name="connsiteX64" fmla="*/ 1107853 w 1885569"/>
                <a:gd name="connsiteY64" fmla="*/ 96107 h 1438655"/>
                <a:gd name="connsiteX65" fmla="*/ 1107377 w 1885569"/>
                <a:gd name="connsiteY65" fmla="*/ 95250 h 1438655"/>
                <a:gd name="connsiteX66" fmla="*/ 1107377 w 1885569"/>
                <a:gd name="connsiteY66" fmla="*/ 95250 h 1438655"/>
                <a:gd name="connsiteX67" fmla="*/ 1106996 w 1885569"/>
                <a:gd name="connsiteY67" fmla="*/ 94488 h 1438655"/>
                <a:gd name="connsiteX68" fmla="*/ 1106900 w 1885569"/>
                <a:gd name="connsiteY68" fmla="*/ 94393 h 1438655"/>
                <a:gd name="connsiteX69" fmla="*/ 1106424 w 1885569"/>
                <a:gd name="connsiteY69" fmla="*/ 93536 h 1438655"/>
                <a:gd name="connsiteX70" fmla="*/ 1106424 w 1885569"/>
                <a:gd name="connsiteY70" fmla="*/ 93440 h 1438655"/>
                <a:gd name="connsiteX71" fmla="*/ 1106329 w 1885569"/>
                <a:gd name="connsiteY71" fmla="*/ 93154 h 1438655"/>
                <a:gd name="connsiteX72" fmla="*/ 1105948 w 1885569"/>
                <a:gd name="connsiteY72" fmla="*/ 92392 h 1438655"/>
                <a:gd name="connsiteX73" fmla="*/ 1105567 w 1885569"/>
                <a:gd name="connsiteY73" fmla="*/ 91630 h 1438655"/>
                <a:gd name="connsiteX74" fmla="*/ 1105091 w 1885569"/>
                <a:gd name="connsiteY74" fmla="*/ 90678 h 1438655"/>
                <a:gd name="connsiteX75" fmla="*/ 1104995 w 1885569"/>
                <a:gd name="connsiteY75" fmla="*/ 90583 h 1438655"/>
                <a:gd name="connsiteX76" fmla="*/ 1104614 w 1885569"/>
                <a:gd name="connsiteY76" fmla="*/ 89821 h 1438655"/>
                <a:gd name="connsiteX77" fmla="*/ 1104614 w 1885569"/>
                <a:gd name="connsiteY77" fmla="*/ 89821 h 1438655"/>
                <a:gd name="connsiteX78" fmla="*/ 1104233 w 1885569"/>
                <a:gd name="connsiteY78" fmla="*/ 88963 h 1438655"/>
                <a:gd name="connsiteX79" fmla="*/ 1104233 w 1885569"/>
                <a:gd name="connsiteY79" fmla="*/ 88963 h 1438655"/>
                <a:gd name="connsiteX80" fmla="*/ 1103852 w 1885569"/>
                <a:gd name="connsiteY80" fmla="*/ 88011 h 1438655"/>
                <a:gd name="connsiteX81" fmla="*/ 1103662 w 1885569"/>
                <a:gd name="connsiteY81" fmla="*/ 87535 h 1438655"/>
                <a:gd name="connsiteX82" fmla="*/ 1103281 w 1885569"/>
                <a:gd name="connsiteY82" fmla="*/ 86582 h 1438655"/>
                <a:gd name="connsiteX83" fmla="*/ 1103186 w 1885569"/>
                <a:gd name="connsiteY83" fmla="*/ 86392 h 1438655"/>
                <a:gd name="connsiteX84" fmla="*/ 1102614 w 1885569"/>
                <a:gd name="connsiteY84" fmla="*/ 84963 h 1438655"/>
                <a:gd name="connsiteX85" fmla="*/ 1102424 w 1885569"/>
                <a:gd name="connsiteY85" fmla="*/ 84582 h 1438655"/>
                <a:gd name="connsiteX86" fmla="*/ 1097090 w 1885569"/>
                <a:gd name="connsiteY86" fmla="*/ 55245 h 1438655"/>
                <a:gd name="connsiteX87" fmla="*/ 1097090 w 1885569"/>
                <a:gd name="connsiteY87" fmla="*/ 0 h 1438655"/>
                <a:gd name="connsiteX88" fmla="*/ 1029367 w 1885569"/>
                <a:gd name="connsiteY88" fmla="*/ 0 h 1438655"/>
                <a:gd name="connsiteX89" fmla="*/ 945928 w 1885569"/>
                <a:gd name="connsiteY89" fmla="*/ 83439 h 1438655"/>
                <a:gd name="connsiteX90" fmla="*/ 945452 w 1885569"/>
                <a:gd name="connsiteY90" fmla="*/ 114776 h 1438655"/>
                <a:gd name="connsiteX91" fmla="*/ 945452 w 1885569"/>
                <a:gd name="connsiteY91" fmla="*/ 114776 h 143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885569" h="1438655">
                  <a:moveTo>
                    <a:pt x="945452" y="114776"/>
                  </a:moveTo>
                  <a:lnTo>
                    <a:pt x="945452" y="205835"/>
                  </a:lnTo>
                  <a:cubicBezTo>
                    <a:pt x="945452" y="250412"/>
                    <a:pt x="909066" y="286798"/>
                    <a:pt x="864489" y="286798"/>
                  </a:cubicBezTo>
                  <a:lnTo>
                    <a:pt x="558165" y="286798"/>
                  </a:lnTo>
                  <a:cubicBezTo>
                    <a:pt x="515874" y="286798"/>
                    <a:pt x="480632" y="318706"/>
                    <a:pt x="475393" y="359759"/>
                  </a:cubicBezTo>
                  <a:cubicBezTo>
                    <a:pt x="470249" y="400431"/>
                    <a:pt x="436055" y="430530"/>
                    <a:pt x="395002" y="430530"/>
                  </a:cubicBezTo>
                  <a:lnTo>
                    <a:pt x="57626" y="430530"/>
                  </a:lnTo>
                  <a:cubicBezTo>
                    <a:pt x="25908" y="430530"/>
                    <a:pt x="0" y="456438"/>
                    <a:pt x="0" y="488156"/>
                  </a:cubicBezTo>
                  <a:lnTo>
                    <a:pt x="0" y="508159"/>
                  </a:lnTo>
                  <a:cubicBezTo>
                    <a:pt x="0" y="539877"/>
                    <a:pt x="25908" y="565785"/>
                    <a:pt x="57626" y="565785"/>
                  </a:cubicBezTo>
                  <a:lnTo>
                    <a:pt x="222885" y="565785"/>
                  </a:lnTo>
                  <a:cubicBezTo>
                    <a:pt x="267176" y="565785"/>
                    <a:pt x="303371" y="601599"/>
                    <a:pt x="303848" y="645890"/>
                  </a:cubicBezTo>
                  <a:cubicBezTo>
                    <a:pt x="304229" y="677323"/>
                    <a:pt x="329946" y="702850"/>
                    <a:pt x="361474" y="702850"/>
                  </a:cubicBezTo>
                  <a:lnTo>
                    <a:pt x="550736" y="702850"/>
                  </a:lnTo>
                  <a:cubicBezTo>
                    <a:pt x="595313" y="702850"/>
                    <a:pt x="631698" y="739235"/>
                    <a:pt x="631698" y="783812"/>
                  </a:cubicBezTo>
                  <a:lnTo>
                    <a:pt x="631698" y="924687"/>
                  </a:lnTo>
                  <a:cubicBezTo>
                    <a:pt x="631698" y="969264"/>
                    <a:pt x="595313" y="1005649"/>
                    <a:pt x="550736" y="1005649"/>
                  </a:cubicBezTo>
                  <a:lnTo>
                    <a:pt x="536257" y="1005649"/>
                  </a:lnTo>
                  <a:cubicBezTo>
                    <a:pt x="504539" y="1005649"/>
                    <a:pt x="478631" y="1031557"/>
                    <a:pt x="478631" y="1063276"/>
                  </a:cubicBezTo>
                  <a:lnTo>
                    <a:pt x="478631" y="1220914"/>
                  </a:lnTo>
                  <a:cubicBezTo>
                    <a:pt x="478631" y="1265491"/>
                    <a:pt x="442246" y="1301877"/>
                    <a:pt x="397669" y="1301877"/>
                  </a:cubicBezTo>
                  <a:lnTo>
                    <a:pt x="883634" y="1301877"/>
                  </a:lnTo>
                  <a:cubicBezTo>
                    <a:pt x="915353" y="1301877"/>
                    <a:pt x="941261" y="1327785"/>
                    <a:pt x="941261" y="1359503"/>
                  </a:cubicBezTo>
                  <a:lnTo>
                    <a:pt x="941261" y="1380363"/>
                  </a:lnTo>
                  <a:lnTo>
                    <a:pt x="941546" y="1380363"/>
                  </a:lnTo>
                  <a:lnTo>
                    <a:pt x="941546" y="1381030"/>
                  </a:lnTo>
                  <a:cubicBezTo>
                    <a:pt x="941546" y="1412748"/>
                    <a:pt x="967454" y="1438656"/>
                    <a:pt x="999173" y="1438656"/>
                  </a:cubicBezTo>
                  <a:lnTo>
                    <a:pt x="1261110" y="1438656"/>
                  </a:lnTo>
                  <a:lnTo>
                    <a:pt x="1261110" y="1362647"/>
                  </a:lnTo>
                  <a:cubicBezTo>
                    <a:pt x="1261110" y="1330928"/>
                    <a:pt x="1287018" y="1305020"/>
                    <a:pt x="1318736" y="1305020"/>
                  </a:cubicBezTo>
                  <a:lnTo>
                    <a:pt x="1765459" y="1305020"/>
                  </a:lnTo>
                  <a:lnTo>
                    <a:pt x="1785557" y="1304544"/>
                  </a:lnTo>
                  <a:lnTo>
                    <a:pt x="1827181" y="1303115"/>
                  </a:lnTo>
                  <a:cubicBezTo>
                    <a:pt x="1858804" y="1302067"/>
                    <a:pt x="1884807" y="1277207"/>
                    <a:pt x="1884807" y="1245489"/>
                  </a:cubicBezTo>
                  <a:cubicBezTo>
                    <a:pt x="1884807" y="1118806"/>
                    <a:pt x="1884902" y="991933"/>
                    <a:pt x="1885093" y="865251"/>
                  </a:cubicBezTo>
                  <a:lnTo>
                    <a:pt x="1789367" y="865251"/>
                  </a:lnTo>
                  <a:cubicBezTo>
                    <a:pt x="1757648" y="865251"/>
                    <a:pt x="1731740" y="839343"/>
                    <a:pt x="1731740" y="807625"/>
                  </a:cubicBezTo>
                  <a:lnTo>
                    <a:pt x="1731740" y="629983"/>
                  </a:lnTo>
                  <a:cubicBezTo>
                    <a:pt x="1731740" y="598265"/>
                    <a:pt x="1757648" y="572357"/>
                    <a:pt x="1789367" y="572357"/>
                  </a:cubicBezTo>
                  <a:lnTo>
                    <a:pt x="1885474" y="572357"/>
                  </a:lnTo>
                  <a:lnTo>
                    <a:pt x="1885569" y="495967"/>
                  </a:lnTo>
                  <a:cubicBezTo>
                    <a:pt x="1879663" y="457009"/>
                    <a:pt x="1845945" y="427101"/>
                    <a:pt x="1805464" y="427101"/>
                  </a:cubicBezTo>
                  <a:lnTo>
                    <a:pt x="1793653" y="427101"/>
                  </a:lnTo>
                  <a:cubicBezTo>
                    <a:pt x="1755172" y="427101"/>
                    <a:pt x="1723644" y="395573"/>
                    <a:pt x="1723644" y="357092"/>
                  </a:cubicBezTo>
                  <a:lnTo>
                    <a:pt x="1723644" y="289750"/>
                  </a:lnTo>
                  <a:lnTo>
                    <a:pt x="1498378" y="289750"/>
                  </a:lnTo>
                  <a:cubicBezTo>
                    <a:pt x="1459135" y="289750"/>
                    <a:pt x="1426083" y="262318"/>
                    <a:pt x="1417225" y="225742"/>
                  </a:cubicBezTo>
                  <a:cubicBezTo>
                    <a:pt x="1415415" y="218313"/>
                    <a:pt x="1414748" y="211741"/>
                    <a:pt x="1415034" y="204025"/>
                  </a:cubicBezTo>
                  <a:cubicBezTo>
                    <a:pt x="1416272" y="166211"/>
                    <a:pt x="1402842" y="135826"/>
                    <a:pt x="1323308" y="138398"/>
                  </a:cubicBezTo>
                  <a:cubicBezTo>
                    <a:pt x="1322356" y="138398"/>
                    <a:pt x="1321594" y="138398"/>
                    <a:pt x="1320641" y="138398"/>
                  </a:cubicBezTo>
                  <a:lnTo>
                    <a:pt x="1180338" y="138398"/>
                  </a:lnTo>
                  <a:cubicBezTo>
                    <a:pt x="1157669" y="138398"/>
                    <a:pt x="1137095" y="129254"/>
                    <a:pt x="1121950" y="114490"/>
                  </a:cubicBezTo>
                  <a:lnTo>
                    <a:pt x="1121950" y="114490"/>
                  </a:lnTo>
                  <a:cubicBezTo>
                    <a:pt x="1119569" y="112109"/>
                    <a:pt x="1117283" y="109633"/>
                    <a:pt x="1115092" y="106966"/>
                  </a:cubicBezTo>
                  <a:lnTo>
                    <a:pt x="1114616" y="106299"/>
                  </a:lnTo>
                  <a:lnTo>
                    <a:pt x="1114520" y="106204"/>
                  </a:lnTo>
                  <a:lnTo>
                    <a:pt x="1114425" y="106108"/>
                  </a:lnTo>
                  <a:cubicBezTo>
                    <a:pt x="1112806" y="104013"/>
                    <a:pt x="1111282" y="101822"/>
                    <a:pt x="1109853" y="99631"/>
                  </a:cubicBezTo>
                  <a:lnTo>
                    <a:pt x="1109853" y="99631"/>
                  </a:lnTo>
                  <a:cubicBezTo>
                    <a:pt x="1109472" y="99060"/>
                    <a:pt x="1109186" y="98488"/>
                    <a:pt x="1108805" y="97917"/>
                  </a:cubicBezTo>
                  <a:lnTo>
                    <a:pt x="1108805" y="97822"/>
                  </a:lnTo>
                  <a:lnTo>
                    <a:pt x="1108424" y="97155"/>
                  </a:lnTo>
                  <a:lnTo>
                    <a:pt x="1108329" y="96964"/>
                  </a:lnTo>
                  <a:lnTo>
                    <a:pt x="1107853" y="96107"/>
                  </a:lnTo>
                  <a:lnTo>
                    <a:pt x="1107853" y="96107"/>
                  </a:lnTo>
                  <a:lnTo>
                    <a:pt x="1107377" y="95250"/>
                  </a:lnTo>
                  <a:lnTo>
                    <a:pt x="1107377" y="95250"/>
                  </a:lnTo>
                  <a:lnTo>
                    <a:pt x="1106996" y="94488"/>
                  </a:lnTo>
                  <a:lnTo>
                    <a:pt x="1106900" y="94393"/>
                  </a:lnTo>
                  <a:lnTo>
                    <a:pt x="1106424" y="93536"/>
                  </a:lnTo>
                  <a:lnTo>
                    <a:pt x="1106424" y="93440"/>
                  </a:lnTo>
                  <a:lnTo>
                    <a:pt x="1106329" y="93154"/>
                  </a:lnTo>
                  <a:lnTo>
                    <a:pt x="1105948" y="92392"/>
                  </a:lnTo>
                  <a:lnTo>
                    <a:pt x="1105567" y="91630"/>
                  </a:lnTo>
                  <a:lnTo>
                    <a:pt x="1105091" y="90678"/>
                  </a:lnTo>
                  <a:lnTo>
                    <a:pt x="1104995" y="90583"/>
                  </a:lnTo>
                  <a:lnTo>
                    <a:pt x="1104614" y="89821"/>
                  </a:lnTo>
                  <a:lnTo>
                    <a:pt x="1104614" y="89821"/>
                  </a:lnTo>
                  <a:lnTo>
                    <a:pt x="1104233" y="88963"/>
                  </a:lnTo>
                  <a:lnTo>
                    <a:pt x="1104233" y="88963"/>
                  </a:lnTo>
                  <a:lnTo>
                    <a:pt x="1103852" y="88011"/>
                  </a:lnTo>
                  <a:lnTo>
                    <a:pt x="1103662" y="87535"/>
                  </a:lnTo>
                  <a:lnTo>
                    <a:pt x="1103281" y="86582"/>
                  </a:lnTo>
                  <a:lnTo>
                    <a:pt x="1103186" y="86392"/>
                  </a:lnTo>
                  <a:lnTo>
                    <a:pt x="1102614" y="84963"/>
                  </a:lnTo>
                  <a:lnTo>
                    <a:pt x="1102424" y="84582"/>
                  </a:lnTo>
                  <a:cubicBezTo>
                    <a:pt x="1098995" y="75438"/>
                    <a:pt x="1097090" y="65532"/>
                    <a:pt x="1097090" y="55245"/>
                  </a:cubicBezTo>
                  <a:lnTo>
                    <a:pt x="1097090" y="0"/>
                  </a:lnTo>
                  <a:lnTo>
                    <a:pt x="1029367" y="0"/>
                  </a:lnTo>
                  <a:cubicBezTo>
                    <a:pt x="983456" y="0"/>
                    <a:pt x="945928" y="37529"/>
                    <a:pt x="945928" y="83439"/>
                  </a:cubicBezTo>
                  <a:lnTo>
                    <a:pt x="945452" y="114776"/>
                  </a:lnTo>
                  <a:lnTo>
                    <a:pt x="945452" y="114776"/>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0" name="Freeform: Shape 69">
              <a:extLst>
                <a:ext uri="{FF2B5EF4-FFF2-40B4-BE49-F238E27FC236}">
                  <a16:creationId xmlns:a16="http://schemas.microsoft.com/office/drawing/2014/main" id="{CE9D3C97-CCCA-4A9A-A7CB-D3860EDBD247}"/>
                </a:ext>
              </a:extLst>
            </p:cNvPr>
            <p:cNvSpPr/>
            <p:nvPr/>
          </p:nvSpPr>
          <p:spPr>
            <a:xfrm>
              <a:off x="1972549" y="4846494"/>
              <a:ext cx="135254" cy="128873"/>
            </a:xfrm>
            <a:custGeom>
              <a:avLst/>
              <a:gdLst>
                <a:gd name="connsiteX0" fmla="*/ 57626 w 135254"/>
                <a:gd name="connsiteY0" fmla="*/ 128874 h 128873"/>
                <a:gd name="connsiteX1" fmla="*/ 77629 w 135254"/>
                <a:gd name="connsiteY1" fmla="*/ 128874 h 128873"/>
                <a:gd name="connsiteX2" fmla="*/ 135255 w 135254"/>
                <a:gd name="connsiteY2" fmla="*/ 71247 h 128873"/>
                <a:gd name="connsiteX3" fmla="*/ 135255 w 135254"/>
                <a:gd name="connsiteY3" fmla="*/ 57626 h 128873"/>
                <a:gd name="connsiteX4" fmla="*/ 77629 w 135254"/>
                <a:gd name="connsiteY4" fmla="*/ 0 h 128873"/>
                <a:gd name="connsiteX5" fmla="*/ 57626 w 135254"/>
                <a:gd name="connsiteY5" fmla="*/ 0 h 128873"/>
                <a:gd name="connsiteX6" fmla="*/ 0 w 135254"/>
                <a:gd name="connsiteY6" fmla="*/ 57626 h 128873"/>
                <a:gd name="connsiteX7" fmla="*/ 0 w 135254"/>
                <a:gd name="connsiteY7" fmla="*/ 71247 h 128873"/>
                <a:gd name="connsiteX8" fmla="*/ 57626 w 135254"/>
                <a:gd name="connsiteY8" fmla="*/ 128874 h 12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4" h="128873">
                  <a:moveTo>
                    <a:pt x="57626" y="128874"/>
                  </a:moveTo>
                  <a:lnTo>
                    <a:pt x="77629" y="128874"/>
                  </a:lnTo>
                  <a:cubicBezTo>
                    <a:pt x="109347" y="128874"/>
                    <a:pt x="135255" y="102965"/>
                    <a:pt x="135255" y="71247"/>
                  </a:cubicBezTo>
                  <a:lnTo>
                    <a:pt x="135255" y="57626"/>
                  </a:lnTo>
                  <a:cubicBezTo>
                    <a:pt x="135255" y="25908"/>
                    <a:pt x="109347" y="0"/>
                    <a:pt x="77629" y="0"/>
                  </a:cubicBezTo>
                  <a:lnTo>
                    <a:pt x="57626" y="0"/>
                  </a:lnTo>
                  <a:cubicBezTo>
                    <a:pt x="25908" y="0"/>
                    <a:pt x="0" y="25908"/>
                    <a:pt x="0" y="57626"/>
                  </a:cubicBezTo>
                  <a:lnTo>
                    <a:pt x="0" y="71247"/>
                  </a:lnTo>
                  <a:cubicBezTo>
                    <a:pt x="0" y="102965"/>
                    <a:pt x="25908" y="128874"/>
                    <a:pt x="57626" y="128874"/>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1" name="Freeform: Shape 70">
              <a:extLst>
                <a:ext uri="{FF2B5EF4-FFF2-40B4-BE49-F238E27FC236}">
                  <a16:creationId xmlns:a16="http://schemas.microsoft.com/office/drawing/2014/main" id="{EB67E3B8-E59E-4483-8281-B69EA50C41F3}"/>
                </a:ext>
              </a:extLst>
            </p:cNvPr>
            <p:cNvSpPr/>
            <p:nvPr/>
          </p:nvSpPr>
          <p:spPr>
            <a:xfrm>
              <a:off x="2926191" y="4710763"/>
              <a:ext cx="299656" cy="417766"/>
            </a:xfrm>
            <a:custGeom>
              <a:avLst/>
              <a:gdLst>
                <a:gd name="connsiteX0" fmla="*/ 57626 w 299656"/>
                <a:gd name="connsiteY0" fmla="*/ 417767 h 417766"/>
                <a:gd name="connsiteX1" fmla="*/ 77629 w 299656"/>
                <a:gd name="connsiteY1" fmla="*/ 417767 h 417766"/>
                <a:gd name="connsiteX2" fmla="*/ 135255 w 299656"/>
                <a:gd name="connsiteY2" fmla="*/ 360140 h 417766"/>
                <a:gd name="connsiteX3" fmla="*/ 135255 w 299656"/>
                <a:gd name="connsiteY3" fmla="*/ 216217 h 417766"/>
                <a:gd name="connsiteX4" fmla="*/ 216218 w 299656"/>
                <a:gd name="connsiteY4" fmla="*/ 135255 h 417766"/>
                <a:gd name="connsiteX5" fmla="*/ 242030 w 299656"/>
                <a:gd name="connsiteY5" fmla="*/ 135255 h 417766"/>
                <a:gd name="connsiteX6" fmla="*/ 299656 w 299656"/>
                <a:gd name="connsiteY6" fmla="*/ 77629 h 417766"/>
                <a:gd name="connsiteX7" fmla="*/ 299656 w 299656"/>
                <a:gd name="connsiteY7" fmla="*/ 57626 h 417766"/>
                <a:gd name="connsiteX8" fmla="*/ 242030 w 299656"/>
                <a:gd name="connsiteY8" fmla="*/ 0 h 417766"/>
                <a:gd name="connsiteX9" fmla="*/ 77629 w 299656"/>
                <a:gd name="connsiteY9" fmla="*/ 0 h 417766"/>
                <a:gd name="connsiteX10" fmla="*/ 57626 w 299656"/>
                <a:gd name="connsiteY10" fmla="*/ 0 h 417766"/>
                <a:gd name="connsiteX11" fmla="*/ 56197 w 299656"/>
                <a:gd name="connsiteY11" fmla="*/ 0 h 417766"/>
                <a:gd name="connsiteX12" fmla="*/ 56197 w 299656"/>
                <a:gd name="connsiteY12" fmla="*/ 0 h 417766"/>
                <a:gd name="connsiteX13" fmla="*/ 54769 w 299656"/>
                <a:gd name="connsiteY13" fmla="*/ 95 h 417766"/>
                <a:gd name="connsiteX14" fmla="*/ 54769 w 299656"/>
                <a:gd name="connsiteY14" fmla="*/ 95 h 417766"/>
                <a:gd name="connsiteX15" fmla="*/ 53340 w 299656"/>
                <a:gd name="connsiteY15" fmla="*/ 190 h 417766"/>
                <a:gd name="connsiteX16" fmla="*/ 53340 w 299656"/>
                <a:gd name="connsiteY16" fmla="*/ 190 h 417766"/>
                <a:gd name="connsiteX17" fmla="*/ 51911 w 299656"/>
                <a:gd name="connsiteY17" fmla="*/ 286 h 417766"/>
                <a:gd name="connsiteX18" fmla="*/ 51911 w 299656"/>
                <a:gd name="connsiteY18" fmla="*/ 286 h 417766"/>
                <a:gd name="connsiteX19" fmla="*/ 50482 w 299656"/>
                <a:gd name="connsiteY19" fmla="*/ 476 h 417766"/>
                <a:gd name="connsiteX20" fmla="*/ 50482 w 299656"/>
                <a:gd name="connsiteY20" fmla="*/ 476 h 417766"/>
                <a:gd name="connsiteX21" fmla="*/ 49054 w 299656"/>
                <a:gd name="connsiteY21" fmla="*/ 667 h 417766"/>
                <a:gd name="connsiteX22" fmla="*/ 49054 w 299656"/>
                <a:gd name="connsiteY22" fmla="*/ 667 h 417766"/>
                <a:gd name="connsiteX23" fmla="*/ 47625 w 299656"/>
                <a:gd name="connsiteY23" fmla="*/ 857 h 417766"/>
                <a:gd name="connsiteX24" fmla="*/ 47625 w 299656"/>
                <a:gd name="connsiteY24" fmla="*/ 857 h 417766"/>
                <a:gd name="connsiteX25" fmla="*/ 46196 w 299656"/>
                <a:gd name="connsiteY25" fmla="*/ 1143 h 417766"/>
                <a:gd name="connsiteX26" fmla="*/ 46196 w 299656"/>
                <a:gd name="connsiteY26" fmla="*/ 1143 h 417766"/>
                <a:gd name="connsiteX27" fmla="*/ 44768 w 299656"/>
                <a:gd name="connsiteY27" fmla="*/ 1429 h 417766"/>
                <a:gd name="connsiteX28" fmla="*/ 44768 w 299656"/>
                <a:gd name="connsiteY28" fmla="*/ 1429 h 417766"/>
                <a:gd name="connsiteX29" fmla="*/ 43339 w 299656"/>
                <a:gd name="connsiteY29" fmla="*/ 1809 h 417766"/>
                <a:gd name="connsiteX30" fmla="*/ 43339 w 299656"/>
                <a:gd name="connsiteY30" fmla="*/ 1809 h 417766"/>
                <a:gd name="connsiteX31" fmla="*/ 42005 w 299656"/>
                <a:gd name="connsiteY31" fmla="*/ 2191 h 417766"/>
                <a:gd name="connsiteX32" fmla="*/ 42005 w 299656"/>
                <a:gd name="connsiteY32" fmla="*/ 2191 h 417766"/>
                <a:gd name="connsiteX33" fmla="*/ 40672 w 299656"/>
                <a:gd name="connsiteY33" fmla="*/ 2572 h 417766"/>
                <a:gd name="connsiteX34" fmla="*/ 40672 w 299656"/>
                <a:gd name="connsiteY34" fmla="*/ 2572 h 417766"/>
                <a:gd name="connsiteX35" fmla="*/ 39338 w 299656"/>
                <a:gd name="connsiteY35" fmla="*/ 3048 h 417766"/>
                <a:gd name="connsiteX36" fmla="*/ 39338 w 299656"/>
                <a:gd name="connsiteY36" fmla="*/ 3048 h 417766"/>
                <a:gd name="connsiteX37" fmla="*/ 38005 w 299656"/>
                <a:gd name="connsiteY37" fmla="*/ 3524 h 417766"/>
                <a:gd name="connsiteX38" fmla="*/ 38005 w 299656"/>
                <a:gd name="connsiteY38" fmla="*/ 3524 h 417766"/>
                <a:gd name="connsiteX39" fmla="*/ 36671 w 299656"/>
                <a:gd name="connsiteY39" fmla="*/ 4000 h 417766"/>
                <a:gd name="connsiteX40" fmla="*/ 36671 w 299656"/>
                <a:gd name="connsiteY40" fmla="*/ 4000 h 417766"/>
                <a:gd name="connsiteX41" fmla="*/ 35338 w 299656"/>
                <a:gd name="connsiteY41" fmla="*/ 4572 h 417766"/>
                <a:gd name="connsiteX42" fmla="*/ 35338 w 299656"/>
                <a:gd name="connsiteY42" fmla="*/ 4572 h 417766"/>
                <a:gd name="connsiteX43" fmla="*/ 34099 w 299656"/>
                <a:gd name="connsiteY43" fmla="*/ 5143 h 417766"/>
                <a:gd name="connsiteX44" fmla="*/ 34099 w 299656"/>
                <a:gd name="connsiteY44" fmla="*/ 5143 h 417766"/>
                <a:gd name="connsiteX45" fmla="*/ 32861 w 299656"/>
                <a:gd name="connsiteY45" fmla="*/ 5715 h 417766"/>
                <a:gd name="connsiteX46" fmla="*/ 32861 w 299656"/>
                <a:gd name="connsiteY46" fmla="*/ 5715 h 417766"/>
                <a:gd name="connsiteX47" fmla="*/ 31623 w 299656"/>
                <a:gd name="connsiteY47" fmla="*/ 6382 h 417766"/>
                <a:gd name="connsiteX48" fmla="*/ 31623 w 299656"/>
                <a:gd name="connsiteY48" fmla="*/ 6382 h 417766"/>
                <a:gd name="connsiteX49" fmla="*/ 30385 w 299656"/>
                <a:gd name="connsiteY49" fmla="*/ 7048 h 417766"/>
                <a:gd name="connsiteX50" fmla="*/ 30385 w 299656"/>
                <a:gd name="connsiteY50" fmla="*/ 7048 h 417766"/>
                <a:gd name="connsiteX51" fmla="*/ 29146 w 299656"/>
                <a:gd name="connsiteY51" fmla="*/ 7715 h 417766"/>
                <a:gd name="connsiteX52" fmla="*/ 29146 w 299656"/>
                <a:gd name="connsiteY52" fmla="*/ 7715 h 417766"/>
                <a:gd name="connsiteX53" fmla="*/ 27908 w 299656"/>
                <a:gd name="connsiteY53" fmla="*/ 8382 h 417766"/>
                <a:gd name="connsiteX54" fmla="*/ 27908 w 299656"/>
                <a:gd name="connsiteY54" fmla="*/ 8382 h 417766"/>
                <a:gd name="connsiteX55" fmla="*/ 26765 w 299656"/>
                <a:gd name="connsiteY55" fmla="*/ 9144 h 417766"/>
                <a:gd name="connsiteX56" fmla="*/ 26765 w 299656"/>
                <a:gd name="connsiteY56" fmla="*/ 9144 h 417766"/>
                <a:gd name="connsiteX57" fmla="*/ 25622 w 299656"/>
                <a:gd name="connsiteY57" fmla="*/ 9906 h 417766"/>
                <a:gd name="connsiteX58" fmla="*/ 25622 w 299656"/>
                <a:gd name="connsiteY58" fmla="*/ 9906 h 417766"/>
                <a:gd name="connsiteX59" fmla="*/ 24479 w 299656"/>
                <a:gd name="connsiteY59" fmla="*/ 10668 h 417766"/>
                <a:gd name="connsiteX60" fmla="*/ 24479 w 299656"/>
                <a:gd name="connsiteY60" fmla="*/ 10668 h 417766"/>
                <a:gd name="connsiteX61" fmla="*/ 23336 w 299656"/>
                <a:gd name="connsiteY61" fmla="*/ 11525 h 417766"/>
                <a:gd name="connsiteX62" fmla="*/ 23336 w 299656"/>
                <a:gd name="connsiteY62" fmla="*/ 11525 h 417766"/>
                <a:gd name="connsiteX63" fmla="*/ 22193 w 299656"/>
                <a:gd name="connsiteY63" fmla="*/ 12382 h 417766"/>
                <a:gd name="connsiteX64" fmla="*/ 22193 w 299656"/>
                <a:gd name="connsiteY64" fmla="*/ 12382 h 417766"/>
                <a:gd name="connsiteX65" fmla="*/ 21146 w 299656"/>
                <a:gd name="connsiteY65" fmla="*/ 13240 h 417766"/>
                <a:gd name="connsiteX66" fmla="*/ 21146 w 299656"/>
                <a:gd name="connsiteY66" fmla="*/ 13240 h 417766"/>
                <a:gd name="connsiteX67" fmla="*/ 20098 w 299656"/>
                <a:gd name="connsiteY67" fmla="*/ 14097 h 417766"/>
                <a:gd name="connsiteX68" fmla="*/ 20098 w 299656"/>
                <a:gd name="connsiteY68" fmla="*/ 14097 h 417766"/>
                <a:gd name="connsiteX69" fmla="*/ 19050 w 299656"/>
                <a:gd name="connsiteY69" fmla="*/ 15049 h 417766"/>
                <a:gd name="connsiteX70" fmla="*/ 19050 w 299656"/>
                <a:gd name="connsiteY70" fmla="*/ 15049 h 417766"/>
                <a:gd name="connsiteX71" fmla="*/ 18002 w 299656"/>
                <a:gd name="connsiteY71" fmla="*/ 16002 h 417766"/>
                <a:gd name="connsiteX72" fmla="*/ 18002 w 299656"/>
                <a:gd name="connsiteY72" fmla="*/ 16002 h 417766"/>
                <a:gd name="connsiteX73" fmla="*/ 17050 w 299656"/>
                <a:gd name="connsiteY73" fmla="*/ 16954 h 417766"/>
                <a:gd name="connsiteX74" fmla="*/ 17050 w 299656"/>
                <a:gd name="connsiteY74" fmla="*/ 16954 h 417766"/>
                <a:gd name="connsiteX75" fmla="*/ 16097 w 299656"/>
                <a:gd name="connsiteY75" fmla="*/ 17907 h 417766"/>
                <a:gd name="connsiteX76" fmla="*/ 16097 w 299656"/>
                <a:gd name="connsiteY76" fmla="*/ 17907 h 417766"/>
                <a:gd name="connsiteX77" fmla="*/ 15145 w 299656"/>
                <a:gd name="connsiteY77" fmla="*/ 18955 h 417766"/>
                <a:gd name="connsiteX78" fmla="*/ 15145 w 299656"/>
                <a:gd name="connsiteY78" fmla="*/ 18955 h 417766"/>
                <a:gd name="connsiteX79" fmla="*/ 14192 w 299656"/>
                <a:gd name="connsiteY79" fmla="*/ 20002 h 417766"/>
                <a:gd name="connsiteX80" fmla="*/ 14192 w 299656"/>
                <a:gd name="connsiteY80" fmla="*/ 20002 h 417766"/>
                <a:gd name="connsiteX81" fmla="*/ 13335 w 299656"/>
                <a:gd name="connsiteY81" fmla="*/ 21050 h 417766"/>
                <a:gd name="connsiteX82" fmla="*/ 13335 w 299656"/>
                <a:gd name="connsiteY82" fmla="*/ 21050 h 417766"/>
                <a:gd name="connsiteX83" fmla="*/ 12478 w 299656"/>
                <a:gd name="connsiteY83" fmla="*/ 22098 h 417766"/>
                <a:gd name="connsiteX84" fmla="*/ 12478 w 299656"/>
                <a:gd name="connsiteY84" fmla="*/ 22098 h 417766"/>
                <a:gd name="connsiteX85" fmla="*/ 11621 w 299656"/>
                <a:gd name="connsiteY85" fmla="*/ 23146 h 417766"/>
                <a:gd name="connsiteX86" fmla="*/ 11621 w 299656"/>
                <a:gd name="connsiteY86" fmla="*/ 23146 h 417766"/>
                <a:gd name="connsiteX87" fmla="*/ 10763 w 299656"/>
                <a:gd name="connsiteY87" fmla="*/ 24289 h 417766"/>
                <a:gd name="connsiteX88" fmla="*/ 10763 w 299656"/>
                <a:gd name="connsiteY88" fmla="*/ 24289 h 417766"/>
                <a:gd name="connsiteX89" fmla="*/ 10001 w 299656"/>
                <a:gd name="connsiteY89" fmla="*/ 25432 h 417766"/>
                <a:gd name="connsiteX90" fmla="*/ 10001 w 299656"/>
                <a:gd name="connsiteY90" fmla="*/ 25432 h 417766"/>
                <a:gd name="connsiteX91" fmla="*/ 9239 w 299656"/>
                <a:gd name="connsiteY91" fmla="*/ 26575 h 417766"/>
                <a:gd name="connsiteX92" fmla="*/ 9239 w 299656"/>
                <a:gd name="connsiteY92" fmla="*/ 26575 h 417766"/>
                <a:gd name="connsiteX93" fmla="*/ 8477 w 299656"/>
                <a:gd name="connsiteY93" fmla="*/ 27717 h 417766"/>
                <a:gd name="connsiteX94" fmla="*/ 8477 w 299656"/>
                <a:gd name="connsiteY94" fmla="*/ 27717 h 417766"/>
                <a:gd name="connsiteX95" fmla="*/ 7811 w 299656"/>
                <a:gd name="connsiteY95" fmla="*/ 28956 h 417766"/>
                <a:gd name="connsiteX96" fmla="*/ 7811 w 299656"/>
                <a:gd name="connsiteY96" fmla="*/ 28956 h 417766"/>
                <a:gd name="connsiteX97" fmla="*/ 7144 w 299656"/>
                <a:gd name="connsiteY97" fmla="*/ 30194 h 417766"/>
                <a:gd name="connsiteX98" fmla="*/ 7144 w 299656"/>
                <a:gd name="connsiteY98" fmla="*/ 30194 h 417766"/>
                <a:gd name="connsiteX99" fmla="*/ 6477 w 299656"/>
                <a:gd name="connsiteY99" fmla="*/ 31432 h 417766"/>
                <a:gd name="connsiteX100" fmla="*/ 6477 w 299656"/>
                <a:gd name="connsiteY100" fmla="*/ 31432 h 417766"/>
                <a:gd name="connsiteX101" fmla="*/ 5810 w 299656"/>
                <a:gd name="connsiteY101" fmla="*/ 32671 h 417766"/>
                <a:gd name="connsiteX102" fmla="*/ 5810 w 299656"/>
                <a:gd name="connsiteY102" fmla="*/ 32671 h 417766"/>
                <a:gd name="connsiteX103" fmla="*/ 5239 w 299656"/>
                <a:gd name="connsiteY103" fmla="*/ 33909 h 417766"/>
                <a:gd name="connsiteX104" fmla="*/ 5239 w 299656"/>
                <a:gd name="connsiteY104" fmla="*/ 33909 h 417766"/>
                <a:gd name="connsiteX105" fmla="*/ 4667 w 299656"/>
                <a:gd name="connsiteY105" fmla="*/ 35147 h 417766"/>
                <a:gd name="connsiteX106" fmla="*/ 4667 w 299656"/>
                <a:gd name="connsiteY106" fmla="*/ 35147 h 417766"/>
                <a:gd name="connsiteX107" fmla="*/ 4096 w 299656"/>
                <a:gd name="connsiteY107" fmla="*/ 36481 h 417766"/>
                <a:gd name="connsiteX108" fmla="*/ 4096 w 299656"/>
                <a:gd name="connsiteY108" fmla="*/ 36481 h 417766"/>
                <a:gd name="connsiteX109" fmla="*/ 3620 w 299656"/>
                <a:gd name="connsiteY109" fmla="*/ 37814 h 417766"/>
                <a:gd name="connsiteX110" fmla="*/ 3620 w 299656"/>
                <a:gd name="connsiteY110" fmla="*/ 37814 h 417766"/>
                <a:gd name="connsiteX111" fmla="*/ 3143 w 299656"/>
                <a:gd name="connsiteY111" fmla="*/ 39148 h 417766"/>
                <a:gd name="connsiteX112" fmla="*/ 3143 w 299656"/>
                <a:gd name="connsiteY112" fmla="*/ 39148 h 417766"/>
                <a:gd name="connsiteX113" fmla="*/ 2667 w 299656"/>
                <a:gd name="connsiteY113" fmla="*/ 40481 h 417766"/>
                <a:gd name="connsiteX114" fmla="*/ 2667 w 299656"/>
                <a:gd name="connsiteY114" fmla="*/ 40481 h 417766"/>
                <a:gd name="connsiteX115" fmla="*/ 2286 w 299656"/>
                <a:gd name="connsiteY115" fmla="*/ 41815 h 417766"/>
                <a:gd name="connsiteX116" fmla="*/ 2286 w 299656"/>
                <a:gd name="connsiteY116" fmla="*/ 41815 h 417766"/>
                <a:gd name="connsiteX117" fmla="*/ 1905 w 299656"/>
                <a:gd name="connsiteY117" fmla="*/ 43148 h 417766"/>
                <a:gd name="connsiteX118" fmla="*/ 1905 w 299656"/>
                <a:gd name="connsiteY118" fmla="*/ 43148 h 417766"/>
                <a:gd name="connsiteX119" fmla="*/ 1524 w 299656"/>
                <a:gd name="connsiteY119" fmla="*/ 44482 h 417766"/>
                <a:gd name="connsiteX120" fmla="*/ 1524 w 299656"/>
                <a:gd name="connsiteY120" fmla="*/ 44482 h 417766"/>
                <a:gd name="connsiteX121" fmla="*/ 1238 w 299656"/>
                <a:gd name="connsiteY121" fmla="*/ 45910 h 417766"/>
                <a:gd name="connsiteX122" fmla="*/ 1238 w 299656"/>
                <a:gd name="connsiteY122" fmla="*/ 45910 h 417766"/>
                <a:gd name="connsiteX123" fmla="*/ 953 w 299656"/>
                <a:gd name="connsiteY123" fmla="*/ 47339 h 417766"/>
                <a:gd name="connsiteX124" fmla="*/ 953 w 299656"/>
                <a:gd name="connsiteY124" fmla="*/ 47339 h 417766"/>
                <a:gd name="connsiteX125" fmla="*/ 667 w 299656"/>
                <a:gd name="connsiteY125" fmla="*/ 48768 h 417766"/>
                <a:gd name="connsiteX126" fmla="*/ 667 w 299656"/>
                <a:gd name="connsiteY126" fmla="*/ 48768 h 417766"/>
                <a:gd name="connsiteX127" fmla="*/ 476 w 299656"/>
                <a:gd name="connsiteY127" fmla="*/ 50197 h 417766"/>
                <a:gd name="connsiteX128" fmla="*/ 476 w 299656"/>
                <a:gd name="connsiteY128" fmla="*/ 50197 h 417766"/>
                <a:gd name="connsiteX129" fmla="*/ 286 w 299656"/>
                <a:gd name="connsiteY129" fmla="*/ 51625 h 417766"/>
                <a:gd name="connsiteX130" fmla="*/ 286 w 299656"/>
                <a:gd name="connsiteY130" fmla="*/ 51625 h 417766"/>
                <a:gd name="connsiteX131" fmla="*/ 190 w 299656"/>
                <a:gd name="connsiteY131" fmla="*/ 53054 h 417766"/>
                <a:gd name="connsiteX132" fmla="*/ 190 w 299656"/>
                <a:gd name="connsiteY132" fmla="*/ 53054 h 417766"/>
                <a:gd name="connsiteX133" fmla="*/ 95 w 299656"/>
                <a:gd name="connsiteY133" fmla="*/ 54483 h 417766"/>
                <a:gd name="connsiteX134" fmla="*/ 95 w 299656"/>
                <a:gd name="connsiteY134" fmla="*/ 54483 h 417766"/>
                <a:gd name="connsiteX135" fmla="*/ 95 w 299656"/>
                <a:gd name="connsiteY135" fmla="*/ 54959 h 417766"/>
                <a:gd name="connsiteX136" fmla="*/ 0 w 299656"/>
                <a:gd name="connsiteY136" fmla="*/ 56864 h 417766"/>
                <a:gd name="connsiteX137" fmla="*/ 0 w 299656"/>
                <a:gd name="connsiteY137" fmla="*/ 57340 h 417766"/>
                <a:gd name="connsiteX138" fmla="*/ 0 w 299656"/>
                <a:gd name="connsiteY138" fmla="*/ 57340 h 417766"/>
                <a:gd name="connsiteX139" fmla="*/ 0 w 299656"/>
                <a:gd name="connsiteY139" fmla="*/ 77343 h 417766"/>
                <a:gd name="connsiteX140" fmla="*/ 0 w 299656"/>
                <a:gd name="connsiteY140" fmla="*/ 359855 h 417766"/>
                <a:gd name="connsiteX141" fmla="*/ 57626 w 299656"/>
                <a:gd name="connsiteY141" fmla="*/ 417767 h 417766"/>
                <a:gd name="connsiteX142" fmla="*/ 57626 w 299656"/>
                <a:gd name="connsiteY142" fmla="*/ 417767 h 417766"/>
                <a:gd name="connsiteX143" fmla="*/ 57626 w 299656"/>
                <a:gd name="connsiteY143" fmla="*/ 0 h 417766"/>
                <a:gd name="connsiteX144" fmla="*/ 57626 w 299656"/>
                <a:gd name="connsiteY144" fmla="*/ 0 h 417766"/>
                <a:gd name="connsiteX145" fmla="*/ 57626 w 299656"/>
                <a:gd name="connsiteY145" fmla="*/ 0 h 41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299656" h="417766">
                  <a:moveTo>
                    <a:pt x="57626" y="417767"/>
                  </a:moveTo>
                  <a:lnTo>
                    <a:pt x="77629" y="417767"/>
                  </a:lnTo>
                  <a:cubicBezTo>
                    <a:pt x="109347" y="417767"/>
                    <a:pt x="135255" y="391858"/>
                    <a:pt x="135255" y="360140"/>
                  </a:cubicBezTo>
                  <a:lnTo>
                    <a:pt x="135255" y="216217"/>
                  </a:lnTo>
                  <a:cubicBezTo>
                    <a:pt x="135255" y="171640"/>
                    <a:pt x="171640" y="135255"/>
                    <a:pt x="216218" y="135255"/>
                  </a:cubicBezTo>
                  <a:lnTo>
                    <a:pt x="242030" y="135255"/>
                  </a:lnTo>
                  <a:cubicBezTo>
                    <a:pt x="273748" y="135255"/>
                    <a:pt x="299656" y="109347"/>
                    <a:pt x="299656" y="77629"/>
                  </a:cubicBezTo>
                  <a:lnTo>
                    <a:pt x="299656" y="57626"/>
                  </a:lnTo>
                  <a:cubicBezTo>
                    <a:pt x="299656" y="25908"/>
                    <a:pt x="273748" y="0"/>
                    <a:pt x="242030" y="0"/>
                  </a:cubicBezTo>
                  <a:lnTo>
                    <a:pt x="77629" y="0"/>
                  </a:lnTo>
                  <a:lnTo>
                    <a:pt x="57626" y="0"/>
                  </a:lnTo>
                  <a:lnTo>
                    <a:pt x="56197" y="0"/>
                  </a:lnTo>
                  <a:lnTo>
                    <a:pt x="56197" y="0"/>
                  </a:lnTo>
                  <a:lnTo>
                    <a:pt x="54769" y="95"/>
                  </a:lnTo>
                  <a:lnTo>
                    <a:pt x="54769" y="95"/>
                  </a:lnTo>
                  <a:lnTo>
                    <a:pt x="53340" y="190"/>
                  </a:lnTo>
                  <a:lnTo>
                    <a:pt x="53340" y="190"/>
                  </a:lnTo>
                  <a:lnTo>
                    <a:pt x="51911" y="286"/>
                  </a:lnTo>
                  <a:lnTo>
                    <a:pt x="51911" y="286"/>
                  </a:lnTo>
                  <a:lnTo>
                    <a:pt x="50482" y="476"/>
                  </a:lnTo>
                  <a:lnTo>
                    <a:pt x="50482" y="476"/>
                  </a:lnTo>
                  <a:lnTo>
                    <a:pt x="49054" y="667"/>
                  </a:lnTo>
                  <a:lnTo>
                    <a:pt x="49054" y="667"/>
                  </a:lnTo>
                  <a:lnTo>
                    <a:pt x="47625" y="857"/>
                  </a:lnTo>
                  <a:lnTo>
                    <a:pt x="47625" y="857"/>
                  </a:lnTo>
                  <a:cubicBezTo>
                    <a:pt x="47149" y="952"/>
                    <a:pt x="46672" y="1048"/>
                    <a:pt x="46196" y="1143"/>
                  </a:cubicBezTo>
                  <a:lnTo>
                    <a:pt x="46196" y="1143"/>
                  </a:lnTo>
                  <a:lnTo>
                    <a:pt x="44768" y="1429"/>
                  </a:lnTo>
                  <a:lnTo>
                    <a:pt x="44768" y="1429"/>
                  </a:lnTo>
                  <a:lnTo>
                    <a:pt x="43339" y="1809"/>
                  </a:lnTo>
                  <a:lnTo>
                    <a:pt x="43339" y="1809"/>
                  </a:lnTo>
                  <a:lnTo>
                    <a:pt x="42005" y="2191"/>
                  </a:lnTo>
                  <a:lnTo>
                    <a:pt x="42005" y="2191"/>
                  </a:lnTo>
                  <a:lnTo>
                    <a:pt x="40672" y="2572"/>
                  </a:lnTo>
                  <a:lnTo>
                    <a:pt x="40672" y="2572"/>
                  </a:lnTo>
                  <a:lnTo>
                    <a:pt x="39338" y="3048"/>
                  </a:lnTo>
                  <a:lnTo>
                    <a:pt x="39338" y="3048"/>
                  </a:lnTo>
                  <a:lnTo>
                    <a:pt x="38005" y="3524"/>
                  </a:lnTo>
                  <a:lnTo>
                    <a:pt x="38005" y="3524"/>
                  </a:lnTo>
                  <a:lnTo>
                    <a:pt x="36671" y="4000"/>
                  </a:lnTo>
                  <a:lnTo>
                    <a:pt x="36671" y="4000"/>
                  </a:lnTo>
                  <a:lnTo>
                    <a:pt x="35338" y="4572"/>
                  </a:lnTo>
                  <a:lnTo>
                    <a:pt x="35338" y="4572"/>
                  </a:lnTo>
                  <a:lnTo>
                    <a:pt x="34099" y="5143"/>
                  </a:lnTo>
                  <a:lnTo>
                    <a:pt x="34099" y="5143"/>
                  </a:lnTo>
                  <a:lnTo>
                    <a:pt x="32861" y="5715"/>
                  </a:lnTo>
                  <a:lnTo>
                    <a:pt x="32861" y="5715"/>
                  </a:lnTo>
                  <a:lnTo>
                    <a:pt x="31623" y="6382"/>
                  </a:lnTo>
                  <a:lnTo>
                    <a:pt x="31623" y="6382"/>
                  </a:lnTo>
                  <a:cubicBezTo>
                    <a:pt x="31242" y="6572"/>
                    <a:pt x="30766" y="6763"/>
                    <a:pt x="30385" y="7048"/>
                  </a:cubicBezTo>
                  <a:lnTo>
                    <a:pt x="30385" y="7048"/>
                  </a:lnTo>
                  <a:lnTo>
                    <a:pt x="29146" y="7715"/>
                  </a:lnTo>
                  <a:lnTo>
                    <a:pt x="29146" y="7715"/>
                  </a:lnTo>
                  <a:cubicBezTo>
                    <a:pt x="28765" y="7906"/>
                    <a:pt x="28385" y="8191"/>
                    <a:pt x="27908" y="8382"/>
                  </a:cubicBezTo>
                  <a:lnTo>
                    <a:pt x="27908" y="8382"/>
                  </a:lnTo>
                  <a:lnTo>
                    <a:pt x="26765" y="9144"/>
                  </a:lnTo>
                  <a:lnTo>
                    <a:pt x="26765" y="9144"/>
                  </a:lnTo>
                  <a:lnTo>
                    <a:pt x="25622" y="9906"/>
                  </a:lnTo>
                  <a:lnTo>
                    <a:pt x="25622" y="9906"/>
                  </a:lnTo>
                  <a:lnTo>
                    <a:pt x="24479" y="10668"/>
                  </a:lnTo>
                  <a:lnTo>
                    <a:pt x="24479" y="10668"/>
                  </a:lnTo>
                  <a:lnTo>
                    <a:pt x="23336" y="11525"/>
                  </a:lnTo>
                  <a:lnTo>
                    <a:pt x="23336" y="11525"/>
                  </a:lnTo>
                  <a:lnTo>
                    <a:pt x="22193" y="12382"/>
                  </a:lnTo>
                  <a:lnTo>
                    <a:pt x="22193" y="12382"/>
                  </a:lnTo>
                  <a:cubicBezTo>
                    <a:pt x="21812" y="12668"/>
                    <a:pt x="21431" y="12954"/>
                    <a:pt x="21146" y="13240"/>
                  </a:cubicBezTo>
                  <a:lnTo>
                    <a:pt x="21146" y="13240"/>
                  </a:lnTo>
                  <a:lnTo>
                    <a:pt x="20098" y="14097"/>
                  </a:lnTo>
                  <a:lnTo>
                    <a:pt x="20098" y="14097"/>
                  </a:lnTo>
                  <a:lnTo>
                    <a:pt x="19050" y="15049"/>
                  </a:lnTo>
                  <a:lnTo>
                    <a:pt x="19050" y="15049"/>
                  </a:lnTo>
                  <a:lnTo>
                    <a:pt x="18002" y="16002"/>
                  </a:lnTo>
                  <a:lnTo>
                    <a:pt x="18002" y="16002"/>
                  </a:lnTo>
                  <a:lnTo>
                    <a:pt x="17050" y="16954"/>
                  </a:lnTo>
                  <a:lnTo>
                    <a:pt x="17050" y="16954"/>
                  </a:lnTo>
                  <a:lnTo>
                    <a:pt x="16097" y="17907"/>
                  </a:lnTo>
                  <a:lnTo>
                    <a:pt x="16097" y="17907"/>
                  </a:lnTo>
                  <a:lnTo>
                    <a:pt x="15145" y="18955"/>
                  </a:lnTo>
                  <a:lnTo>
                    <a:pt x="15145" y="18955"/>
                  </a:lnTo>
                  <a:lnTo>
                    <a:pt x="14192" y="20002"/>
                  </a:lnTo>
                  <a:lnTo>
                    <a:pt x="14192" y="20002"/>
                  </a:lnTo>
                  <a:lnTo>
                    <a:pt x="13335" y="21050"/>
                  </a:lnTo>
                  <a:lnTo>
                    <a:pt x="13335" y="21050"/>
                  </a:lnTo>
                  <a:cubicBezTo>
                    <a:pt x="13049" y="21431"/>
                    <a:pt x="12763" y="21812"/>
                    <a:pt x="12478" y="22098"/>
                  </a:cubicBezTo>
                  <a:lnTo>
                    <a:pt x="12478" y="22098"/>
                  </a:lnTo>
                  <a:cubicBezTo>
                    <a:pt x="12192" y="22479"/>
                    <a:pt x="11906" y="22860"/>
                    <a:pt x="11621" y="23146"/>
                  </a:cubicBezTo>
                  <a:lnTo>
                    <a:pt x="11621" y="23146"/>
                  </a:lnTo>
                  <a:lnTo>
                    <a:pt x="10763" y="24289"/>
                  </a:lnTo>
                  <a:lnTo>
                    <a:pt x="10763" y="24289"/>
                  </a:lnTo>
                  <a:lnTo>
                    <a:pt x="10001" y="25432"/>
                  </a:lnTo>
                  <a:lnTo>
                    <a:pt x="10001" y="25432"/>
                  </a:lnTo>
                  <a:lnTo>
                    <a:pt x="9239" y="26575"/>
                  </a:lnTo>
                  <a:lnTo>
                    <a:pt x="9239" y="26575"/>
                  </a:lnTo>
                  <a:lnTo>
                    <a:pt x="8477" y="27717"/>
                  </a:lnTo>
                  <a:lnTo>
                    <a:pt x="8477" y="27717"/>
                  </a:lnTo>
                  <a:lnTo>
                    <a:pt x="7811" y="28956"/>
                  </a:lnTo>
                  <a:lnTo>
                    <a:pt x="7811" y="28956"/>
                  </a:lnTo>
                  <a:lnTo>
                    <a:pt x="7144" y="30194"/>
                  </a:lnTo>
                  <a:lnTo>
                    <a:pt x="7144" y="30194"/>
                  </a:lnTo>
                  <a:lnTo>
                    <a:pt x="6477" y="31432"/>
                  </a:lnTo>
                  <a:lnTo>
                    <a:pt x="6477" y="31432"/>
                  </a:lnTo>
                  <a:lnTo>
                    <a:pt x="5810" y="32671"/>
                  </a:lnTo>
                  <a:lnTo>
                    <a:pt x="5810" y="32671"/>
                  </a:lnTo>
                  <a:lnTo>
                    <a:pt x="5239" y="33909"/>
                  </a:lnTo>
                  <a:lnTo>
                    <a:pt x="5239" y="33909"/>
                  </a:lnTo>
                  <a:cubicBezTo>
                    <a:pt x="5048" y="34290"/>
                    <a:pt x="4858" y="34766"/>
                    <a:pt x="4667" y="35147"/>
                  </a:cubicBezTo>
                  <a:lnTo>
                    <a:pt x="4667" y="35147"/>
                  </a:lnTo>
                  <a:lnTo>
                    <a:pt x="4096" y="36481"/>
                  </a:lnTo>
                  <a:lnTo>
                    <a:pt x="4096" y="36481"/>
                  </a:lnTo>
                  <a:lnTo>
                    <a:pt x="3620" y="37814"/>
                  </a:lnTo>
                  <a:lnTo>
                    <a:pt x="3620" y="37814"/>
                  </a:lnTo>
                  <a:lnTo>
                    <a:pt x="3143" y="39148"/>
                  </a:lnTo>
                  <a:lnTo>
                    <a:pt x="3143" y="39148"/>
                  </a:lnTo>
                  <a:lnTo>
                    <a:pt x="2667" y="40481"/>
                  </a:lnTo>
                  <a:lnTo>
                    <a:pt x="2667" y="40481"/>
                  </a:lnTo>
                  <a:lnTo>
                    <a:pt x="2286" y="41815"/>
                  </a:lnTo>
                  <a:lnTo>
                    <a:pt x="2286" y="41815"/>
                  </a:lnTo>
                  <a:lnTo>
                    <a:pt x="1905" y="43148"/>
                  </a:lnTo>
                  <a:lnTo>
                    <a:pt x="1905" y="43148"/>
                  </a:lnTo>
                  <a:lnTo>
                    <a:pt x="1524" y="44482"/>
                  </a:lnTo>
                  <a:lnTo>
                    <a:pt x="1524" y="44482"/>
                  </a:lnTo>
                  <a:lnTo>
                    <a:pt x="1238" y="45910"/>
                  </a:lnTo>
                  <a:lnTo>
                    <a:pt x="1238" y="45910"/>
                  </a:lnTo>
                  <a:cubicBezTo>
                    <a:pt x="1143" y="46387"/>
                    <a:pt x="1048" y="46863"/>
                    <a:pt x="953" y="47339"/>
                  </a:cubicBezTo>
                  <a:lnTo>
                    <a:pt x="953" y="47339"/>
                  </a:lnTo>
                  <a:lnTo>
                    <a:pt x="667" y="48768"/>
                  </a:lnTo>
                  <a:lnTo>
                    <a:pt x="667" y="48768"/>
                  </a:lnTo>
                  <a:lnTo>
                    <a:pt x="476" y="50197"/>
                  </a:lnTo>
                  <a:lnTo>
                    <a:pt x="476" y="50197"/>
                  </a:lnTo>
                  <a:lnTo>
                    <a:pt x="286" y="51625"/>
                  </a:lnTo>
                  <a:lnTo>
                    <a:pt x="286" y="51625"/>
                  </a:lnTo>
                  <a:lnTo>
                    <a:pt x="190" y="53054"/>
                  </a:lnTo>
                  <a:lnTo>
                    <a:pt x="190" y="53054"/>
                  </a:lnTo>
                  <a:lnTo>
                    <a:pt x="95" y="54483"/>
                  </a:lnTo>
                  <a:lnTo>
                    <a:pt x="95" y="54483"/>
                  </a:lnTo>
                  <a:lnTo>
                    <a:pt x="95" y="54959"/>
                  </a:lnTo>
                  <a:cubicBezTo>
                    <a:pt x="95" y="55626"/>
                    <a:pt x="95" y="56197"/>
                    <a:pt x="0" y="56864"/>
                  </a:cubicBezTo>
                  <a:lnTo>
                    <a:pt x="0" y="57340"/>
                  </a:lnTo>
                  <a:lnTo>
                    <a:pt x="0" y="57340"/>
                  </a:lnTo>
                  <a:lnTo>
                    <a:pt x="0" y="77343"/>
                  </a:lnTo>
                  <a:lnTo>
                    <a:pt x="0" y="359855"/>
                  </a:lnTo>
                  <a:cubicBezTo>
                    <a:pt x="0" y="391858"/>
                    <a:pt x="25908" y="417767"/>
                    <a:pt x="57626" y="417767"/>
                  </a:cubicBezTo>
                  <a:lnTo>
                    <a:pt x="57626" y="417767"/>
                  </a:lnTo>
                  <a:close/>
                  <a:moveTo>
                    <a:pt x="57626" y="0"/>
                  </a:moveTo>
                  <a:lnTo>
                    <a:pt x="57626" y="0"/>
                  </a:lnTo>
                  <a:lnTo>
                    <a:pt x="57626"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2" name="Freeform: Shape 71">
              <a:extLst>
                <a:ext uri="{FF2B5EF4-FFF2-40B4-BE49-F238E27FC236}">
                  <a16:creationId xmlns:a16="http://schemas.microsoft.com/office/drawing/2014/main" id="{8A3E5852-F6AA-45E3-A2C0-3E71F79A6554}"/>
                </a:ext>
              </a:extLst>
            </p:cNvPr>
            <p:cNvSpPr/>
            <p:nvPr/>
          </p:nvSpPr>
          <p:spPr>
            <a:xfrm>
              <a:off x="75454" y="4553410"/>
              <a:ext cx="628078" cy="867822"/>
            </a:xfrm>
            <a:custGeom>
              <a:avLst/>
              <a:gdLst>
                <a:gd name="connsiteX0" fmla="*/ 550069 w 628078"/>
                <a:gd name="connsiteY0" fmla="*/ 300609 h 867822"/>
                <a:gd name="connsiteX1" fmla="*/ 570452 w 628078"/>
                <a:gd name="connsiteY1" fmla="*/ 300609 h 867822"/>
                <a:gd name="connsiteX2" fmla="*/ 628079 w 628078"/>
                <a:gd name="connsiteY2" fmla="*/ 242983 h 867822"/>
                <a:gd name="connsiteX3" fmla="*/ 628079 w 628078"/>
                <a:gd name="connsiteY3" fmla="*/ 57626 h 867822"/>
                <a:gd name="connsiteX4" fmla="*/ 570452 w 628078"/>
                <a:gd name="connsiteY4" fmla="*/ 0 h 867822"/>
                <a:gd name="connsiteX5" fmla="*/ 216599 w 628078"/>
                <a:gd name="connsiteY5" fmla="*/ 0 h 867822"/>
                <a:gd name="connsiteX6" fmla="*/ 158972 w 628078"/>
                <a:gd name="connsiteY6" fmla="*/ 857 h 867822"/>
                <a:gd name="connsiteX7" fmla="*/ 158972 w 628078"/>
                <a:gd name="connsiteY7" fmla="*/ 212884 h 867822"/>
                <a:gd name="connsiteX8" fmla="*/ 78010 w 628078"/>
                <a:gd name="connsiteY8" fmla="*/ 293846 h 867822"/>
                <a:gd name="connsiteX9" fmla="*/ 57626 w 628078"/>
                <a:gd name="connsiteY9" fmla="*/ 293846 h 867822"/>
                <a:gd name="connsiteX10" fmla="*/ 0 w 628078"/>
                <a:gd name="connsiteY10" fmla="*/ 352901 h 867822"/>
                <a:gd name="connsiteX11" fmla="*/ 0 w 628078"/>
                <a:gd name="connsiteY11" fmla="*/ 464153 h 867822"/>
                <a:gd name="connsiteX12" fmla="*/ 0 w 628078"/>
                <a:gd name="connsiteY12" fmla="*/ 520351 h 867822"/>
                <a:gd name="connsiteX13" fmla="*/ 0 w 628078"/>
                <a:gd name="connsiteY13" fmla="*/ 810197 h 867822"/>
                <a:gd name="connsiteX14" fmla="*/ 57626 w 628078"/>
                <a:gd name="connsiteY14" fmla="*/ 867823 h 867822"/>
                <a:gd name="connsiteX15" fmla="*/ 252413 w 628078"/>
                <a:gd name="connsiteY15" fmla="*/ 867823 h 867822"/>
                <a:gd name="connsiteX16" fmla="*/ 310039 w 628078"/>
                <a:gd name="connsiteY16" fmla="*/ 866965 h 867822"/>
                <a:gd name="connsiteX17" fmla="*/ 310039 w 628078"/>
                <a:gd name="connsiteY17" fmla="*/ 660559 h 867822"/>
                <a:gd name="connsiteX18" fmla="*/ 391001 w 628078"/>
                <a:gd name="connsiteY18" fmla="*/ 579596 h 867822"/>
                <a:gd name="connsiteX19" fmla="*/ 411385 w 628078"/>
                <a:gd name="connsiteY19" fmla="*/ 579596 h 867822"/>
                <a:gd name="connsiteX20" fmla="*/ 469011 w 628078"/>
                <a:gd name="connsiteY20" fmla="*/ 520541 h 867822"/>
                <a:gd name="connsiteX21" fmla="*/ 469011 w 628078"/>
                <a:gd name="connsiteY21" fmla="*/ 381667 h 867822"/>
                <a:gd name="connsiteX22" fmla="*/ 550069 w 628078"/>
                <a:gd name="connsiteY22" fmla="*/ 300609 h 867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8078" h="867822">
                  <a:moveTo>
                    <a:pt x="550069" y="300609"/>
                  </a:moveTo>
                  <a:lnTo>
                    <a:pt x="570452" y="300609"/>
                  </a:lnTo>
                  <a:cubicBezTo>
                    <a:pt x="602171" y="300609"/>
                    <a:pt x="628079" y="274701"/>
                    <a:pt x="628079" y="242983"/>
                  </a:cubicBezTo>
                  <a:lnTo>
                    <a:pt x="628079" y="57626"/>
                  </a:lnTo>
                  <a:cubicBezTo>
                    <a:pt x="628079" y="25908"/>
                    <a:pt x="602171" y="0"/>
                    <a:pt x="570452" y="0"/>
                  </a:cubicBezTo>
                  <a:lnTo>
                    <a:pt x="216599" y="0"/>
                  </a:lnTo>
                  <a:lnTo>
                    <a:pt x="158972" y="857"/>
                  </a:lnTo>
                  <a:lnTo>
                    <a:pt x="158972" y="212884"/>
                  </a:lnTo>
                  <a:cubicBezTo>
                    <a:pt x="158972" y="257461"/>
                    <a:pt x="122587" y="293846"/>
                    <a:pt x="78010" y="293846"/>
                  </a:cubicBezTo>
                  <a:lnTo>
                    <a:pt x="57626" y="293846"/>
                  </a:lnTo>
                  <a:cubicBezTo>
                    <a:pt x="25908" y="293846"/>
                    <a:pt x="0" y="320421"/>
                    <a:pt x="0" y="352901"/>
                  </a:cubicBezTo>
                  <a:lnTo>
                    <a:pt x="0" y="464153"/>
                  </a:lnTo>
                  <a:lnTo>
                    <a:pt x="0" y="520351"/>
                  </a:lnTo>
                  <a:lnTo>
                    <a:pt x="0" y="810197"/>
                  </a:lnTo>
                  <a:cubicBezTo>
                    <a:pt x="0" y="841915"/>
                    <a:pt x="25908" y="867823"/>
                    <a:pt x="57626" y="867823"/>
                  </a:cubicBezTo>
                  <a:lnTo>
                    <a:pt x="252413" y="867823"/>
                  </a:lnTo>
                  <a:lnTo>
                    <a:pt x="310039" y="866965"/>
                  </a:lnTo>
                  <a:lnTo>
                    <a:pt x="310039" y="660559"/>
                  </a:lnTo>
                  <a:cubicBezTo>
                    <a:pt x="310039" y="615982"/>
                    <a:pt x="346424" y="579596"/>
                    <a:pt x="391001" y="579596"/>
                  </a:cubicBezTo>
                  <a:lnTo>
                    <a:pt x="411385" y="579596"/>
                  </a:lnTo>
                  <a:cubicBezTo>
                    <a:pt x="443103" y="579596"/>
                    <a:pt x="469011" y="553022"/>
                    <a:pt x="469011" y="520541"/>
                  </a:cubicBezTo>
                  <a:lnTo>
                    <a:pt x="469011" y="381667"/>
                  </a:lnTo>
                  <a:cubicBezTo>
                    <a:pt x="469011" y="336995"/>
                    <a:pt x="505397" y="300609"/>
                    <a:pt x="550069" y="30060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3" name="Freeform: Shape 72">
              <a:extLst>
                <a:ext uri="{FF2B5EF4-FFF2-40B4-BE49-F238E27FC236}">
                  <a16:creationId xmlns:a16="http://schemas.microsoft.com/office/drawing/2014/main" id="{AF4DA893-5D5A-4489-A2A8-083227624CFF}"/>
                </a:ext>
              </a:extLst>
            </p:cNvPr>
            <p:cNvSpPr/>
            <p:nvPr/>
          </p:nvSpPr>
          <p:spPr>
            <a:xfrm>
              <a:off x="234712" y="4126976"/>
              <a:ext cx="1892046" cy="1432274"/>
            </a:xfrm>
            <a:custGeom>
              <a:avLst/>
              <a:gdLst>
                <a:gd name="connsiteX0" fmla="*/ 388906 w 1892046"/>
                <a:gd name="connsiteY0" fmla="*/ 1432274 h 1432274"/>
                <a:gd name="connsiteX1" fmla="*/ 542068 w 1892046"/>
                <a:gd name="connsiteY1" fmla="*/ 1432274 h 1432274"/>
                <a:gd name="connsiteX2" fmla="*/ 624364 w 1892046"/>
                <a:gd name="connsiteY2" fmla="*/ 1362266 h 1432274"/>
                <a:gd name="connsiteX3" fmla="*/ 704279 w 1892046"/>
                <a:gd name="connsiteY3" fmla="*/ 1294352 h 1432274"/>
                <a:gd name="connsiteX4" fmla="*/ 1017461 w 1892046"/>
                <a:gd name="connsiteY4" fmla="*/ 1294352 h 1432274"/>
                <a:gd name="connsiteX5" fmla="*/ 1100042 w 1892046"/>
                <a:gd name="connsiteY5" fmla="*/ 1222724 h 1432274"/>
                <a:gd name="connsiteX6" fmla="*/ 1177576 w 1892046"/>
                <a:gd name="connsiteY6" fmla="*/ 1153287 h 1432274"/>
                <a:gd name="connsiteX7" fmla="*/ 1258253 w 1892046"/>
                <a:gd name="connsiteY7" fmla="*/ 1069943 h 1432274"/>
                <a:gd name="connsiteX8" fmla="*/ 1258253 w 1892046"/>
                <a:gd name="connsiteY8" fmla="*/ 796194 h 1432274"/>
                <a:gd name="connsiteX9" fmla="*/ 1337405 w 1892046"/>
                <a:gd name="connsiteY9" fmla="*/ 715232 h 1432274"/>
                <a:gd name="connsiteX10" fmla="*/ 1417701 w 1892046"/>
                <a:gd name="connsiteY10" fmla="*/ 645605 h 1432274"/>
                <a:gd name="connsiteX11" fmla="*/ 1495235 w 1892046"/>
                <a:gd name="connsiteY11" fmla="*/ 578072 h 1432274"/>
                <a:gd name="connsiteX12" fmla="*/ 1576292 w 1892046"/>
                <a:gd name="connsiteY12" fmla="*/ 495681 h 1432274"/>
                <a:gd name="connsiteX13" fmla="*/ 1657255 w 1892046"/>
                <a:gd name="connsiteY13" fmla="*/ 415671 h 1432274"/>
                <a:gd name="connsiteX14" fmla="*/ 1833658 w 1892046"/>
                <a:gd name="connsiteY14" fmla="*/ 415671 h 1432274"/>
                <a:gd name="connsiteX15" fmla="*/ 1892046 w 1892046"/>
                <a:gd name="connsiteY15" fmla="*/ 363188 h 1432274"/>
                <a:gd name="connsiteX16" fmla="*/ 1891951 w 1892046"/>
                <a:gd name="connsiteY16" fmla="*/ 273177 h 1432274"/>
                <a:gd name="connsiteX17" fmla="*/ 1630299 w 1892046"/>
                <a:gd name="connsiteY17" fmla="*/ 273844 h 1432274"/>
                <a:gd name="connsiteX18" fmla="*/ 1572673 w 1892046"/>
                <a:gd name="connsiteY18" fmla="*/ 216217 h 1432274"/>
                <a:gd name="connsiteX19" fmla="*/ 1572673 w 1892046"/>
                <a:gd name="connsiteY19" fmla="*/ 215551 h 1432274"/>
                <a:gd name="connsiteX20" fmla="*/ 1572387 w 1892046"/>
                <a:gd name="connsiteY20" fmla="*/ 215551 h 1432274"/>
                <a:gd name="connsiteX21" fmla="*/ 1572387 w 1892046"/>
                <a:gd name="connsiteY21" fmla="*/ 194691 h 1432274"/>
                <a:gd name="connsiteX22" fmla="*/ 1514761 w 1892046"/>
                <a:gd name="connsiteY22" fmla="*/ 137065 h 1432274"/>
                <a:gd name="connsiteX23" fmla="*/ 1028795 w 1892046"/>
                <a:gd name="connsiteY23" fmla="*/ 137065 h 1432274"/>
                <a:gd name="connsiteX24" fmla="*/ 1028986 w 1892046"/>
                <a:gd name="connsiteY24" fmla="*/ 137065 h 1432274"/>
                <a:gd name="connsiteX25" fmla="*/ 852869 w 1892046"/>
                <a:gd name="connsiteY25" fmla="*/ 137065 h 1432274"/>
                <a:gd name="connsiteX26" fmla="*/ 771906 w 1892046"/>
                <a:gd name="connsiteY26" fmla="*/ 56959 h 1432274"/>
                <a:gd name="connsiteX27" fmla="*/ 714280 w 1892046"/>
                <a:gd name="connsiteY27" fmla="*/ 0 h 1432274"/>
                <a:gd name="connsiteX28" fmla="*/ 57626 w 1892046"/>
                <a:gd name="connsiteY28" fmla="*/ 0 h 1432274"/>
                <a:gd name="connsiteX29" fmla="*/ 0 w 1892046"/>
                <a:gd name="connsiteY29" fmla="*/ 57626 h 1432274"/>
                <a:gd name="connsiteX30" fmla="*/ 0 w 1892046"/>
                <a:gd name="connsiteY30" fmla="*/ 288798 h 1432274"/>
                <a:gd name="connsiteX31" fmla="*/ 95 w 1892046"/>
                <a:gd name="connsiteY31" fmla="*/ 291655 h 1432274"/>
                <a:gd name="connsiteX32" fmla="*/ 95 w 1892046"/>
                <a:gd name="connsiteY32" fmla="*/ 299656 h 1432274"/>
                <a:gd name="connsiteX33" fmla="*/ 0 w 1892046"/>
                <a:gd name="connsiteY33" fmla="*/ 303466 h 1432274"/>
                <a:gd name="connsiteX34" fmla="*/ 0 w 1892046"/>
                <a:gd name="connsiteY34" fmla="*/ 427387 h 1432274"/>
                <a:gd name="connsiteX35" fmla="*/ 57341 w 1892046"/>
                <a:gd name="connsiteY35" fmla="*/ 426530 h 1432274"/>
                <a:gd name="connsiteX36" fmla="*/ 411099 w 1892046"/>
                <a:gd name="connsiteY36" fmla="*/ 426530 h 1432274"/>
                <a:gd name="connsiteX37" fmla="*/ 468725 w 1892046"/>
                <a:gd name="connsiteY37" fmla="*/ 484156 h 1432274"/>
                <a:gd name="connsiteX38" fmla="*/ 468725 w 1892046"/>
                <a:gd name="connsiteY38" fmla="*/ 669512 h 1432274"/>
                <a:gd name="connsiteX39" fmla="*/ 411099 w 1892046"/>
                <a:gd name="connsiteY39" fmla="*/ 727138 h 1432274"/>
                <a:gd name="connsiteX40" fmla="*/ 390716 w 1892046"/>
                <a:gd name="connsiteY40" fmla="*/ 727138 h 1432274"/>
                <a:gd name="connsiteX41" fmla="*/ 309753 w 1892046"/>
                <a:gd name="connsiteY41" fmla="*/ 808101 h 1432274"/>
                <a:gd name="connsiteX42" fmla="*/ 309753 w 1892046"/>
                <a:gd name="connsiteY42" fmla="*/ 946975 h 1432274"/>
                <a:gd name="connsiteX43" fmla="*/ 252127 w 1892046"/>
                <a:gd name="connsiteY43" fmla="*/ 1006030 h 1432274"/>
                <a:gd name="connsiteX44" fmla="*/ 231743 w 1892046"/>
                <a:gd name="connsiteY44" fmla="*/ 1006030 h 1432274"/>
                <a:gd name="connsiteX45" fmla="*/ 150781 w 1892046"/>
                <a:gd name="connsiteY45" fmla="*/ 1086993 h 1432274"/>
                <a:gd name="connsiteX46" fmla="*/ 150781 w 1892046"/>
                <a:gd name="connsiteY46" fmla="*/ 1293495 h 1432274"/>
                <a:gd name="connsiteX47" fmla="*/ 107347 w 1892046"/>
                <a:gd name="connsiteY47" fmla="*/ 1294162 h 1432274"/>
                <a:gd name="connsiteX48" fmla="*/ 113348 w 1892046"/>
                <a:gd name="connsiteY48" fmla="*/ 1294352 h 1432274"/>
                <a:gd name="connsiteX49" fmla="*/ 226600 w 1892046"/>
                <a:gd name="connsiteY49" fmla="*/ 1294352 h 1432274"/>
                <a:gd name="connsiteX50" fmla="*/ 306515 w 1892046"/>
                <a:gd name="connsiteY50" fmla="*/ 1362266 h 1432274"/>
                <a:gd name="connsiteX51" fmla="*/ 388906 w 1892046"/>
                <a:gd name="connsiteY51" fmla="*/ 1432274 h 143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92046" h="1432274">
                  <a:moveTo>
                    <a:pt x="388906" y="1432274"/>
                  </a:moveTo>
                  <a:lnTo>
                    <a:pt x="542068" y="1432274"/>
                  </a:lnTo>
                  <a:cubicBezTo>
                    <a:pt x="583406" y="1432274"/>
                    <a:pt x="617982" y="1401794"/>
                    <a:pt x="624364" y="1362266"/>
                  </a:cubicBezTo>
                  <a:cubicBezTo>
                    <a:pt x="630841" y="1322737"/>
                    <a:pt x="664274" y="1294352"/>
                    <a:pt x="704279" y="1294352"/>
                  </a:cubicBezTo>
                  <a:lnTo>
                    <a:pt x="1017461" y="1294352"/>
                  </a:lnTo>
                  <a:cubicBezTo>
                    <a:pt x="1059371" y="1294352"/>
                    <a:pt x="1094232" y="1263110"/>
                    <a:pt x="1100042" y="1222724"/>
                  </a:cubicBezTo>
                  <a:cubicBezTo>
                    <a:pt x="1105662" y="1183481"/>
                    <a:pt x="1137952" y="1154526"/>
                    <a:pt x="1177576" y="1153287"/>
                  </a:cubicBezTo>
                  <a:cubicBezTo>
                    <a:pt x="1222248" y="1151858"/>
                    <a:pt x="1258253" y="1114901"/>
                    <a:pt x="1258253" y="1069943"/>
                  </a:cubicBezTo>
                  <a:lnTo>
                    <a:pt x="1258253" y="796194"/>
                  </a:lnTo>
                  <a:cubicBezTo>
                    <a:pt x="1258253" y="752284"/>
                    <a:pt x="1293400" y="716280"/>
                    <a:pt x="1337405" y="715232"/>
                  </a:cubicBezTo>
                  <a:cubicBezTo>
                    <a:pt x="1377696" y="714280"/>
                    <a:pt x="1411224" y="684371"/>
                    <a:pt x="1417701" y="645605"/>
                  </a:cubicBezTo>
                  <a:cubicBezTo>
                    <a:pt x="1424178" y="607123"/>
                    <a:pt x="1456182" y="579215"/>
                    <a:pt x="1495235" y="578072"/>
                  </a:cubicBezTo>
                  <a:cubicBezTo>
                    <a:pt x="1539716" y="576834"/>
                    <a:pt x="1575721" y="540353"/>
                    <a:pt x="1576292" y="495681"/>
                  </a:cubicBezTo>
                  <a:cubicBezTo>
                    <a:pt x="1576864" y="451390"/>
                    <a:pt x="1613059" y="415671"/>
                    <a:pt x="1657255" y="415671"/>
                  </a:cubicBezTo>
                  <a:lnTo>
                    <a:pt x="1833658" y="415671"/>
                  </a:lnTo>
                  <a:cubicBezTo>
                    <a:pt x="1865376" y="415671"/>
                    <a:pt x="1892141" y="395002"/>
                    <a:pt x="1892046" y="363188"/>
                  </a:cubicBezTo>
                  <a:lnTo>
                    <a:pt x="1891951" y="273177"/>
                  </a:lnTo>
                  <a:cubicBezTo>
                    <a:pt x="1804130" y="273177"/>
                    <a:pt x="1718215" y="273844"/>
                    <a:pt x="1630299" y="273844"/>
                  </a:cubicBezTo>
                  <a:cubicBezTo>
                    <a:pt x="1598581" y="273844"/>
                    <a:pt x="1572673" y="247936"/>
                    <a:pt x="1572673" y="216217"/>
                  </a:cubicBezTo>
                  <a:lnTo>
                    <a:pt x="1572673" y="215551"/>
                  </a:lnTo>
                  <a:lnTo>
                    <a:pt x="1572387" y="215551"/>
                  </a:lnTo>
                  <a:lnTo>
                    <a:pt x="1572387" y="194691"/>
                  </a:lnTo>
                  <a:cubicBezTo>
                    <a:pt x="1572387" y="162973"/>
                    <a:pt x="1546479" y="137065"/>
                    <a:pt x="1514761" y="137065"/>
                  </a:cubicBezTo>
                  <a:lnTo>
                    <a:pt x="1028795" y="137065"/>
                  </a:lnTo>
                  <a:lnTo>
                    <a:pt x="1028986" y="137065"/>
                  </a:lnTo>
                  <a:lnTo>
                    <a:pt x="852869" y="137065"/>
                  </a:lnTo>
                  <a:cubicBezTo>
                    <a:pt x="808577" y="137065"/>
                    <a:pt x="772382" y="101251"/>
                    <a:pt x="771906" y="56959"/>
                  </a:cubicBezTo>
                  <a:cubicBezTo>
                    <a:pt x="771525" y="25622"/>
                    <a:pt x="745712" y="0"/>
                    <a:pt x="714280" y="0"/>
                  </a:cubicBezTo>
                  <a:lnTo>
                    <a:pt x="57626" y="0"/>
                  </a:lnTo>
                  <a:cubicBezTo>
                    <a:pt x="25908" y="0"/>
                    <a:pt x="0" y="25908"/>
                    <a:pt x="0" y="57626"/>
                  </a:cubicBezTo>
                  <a:lnTo>
                    <a:pt x="0" y="288798"/>
                  </a:lnTo>
                  <a:cubicBezTo>
                    <a:pt x="0" y="289750"/>
                    <a:pt x="0" y="290703"/>
                    <a:pt x="95" y="291655"/>
                  </a:cubicBezTo>
                  <a:cubicBezTo>
                    <a:pt x="286" y="294418"/>
                    <a:pt x="286" y="296799"/>
                    <a:pt x="95" y="299656"/>
                  </a:cubicBezTo>
                  <a:cubicBezTo>
                    <a:pt x="0" y="300895"/>
                    <a:pt x="0" y="302228"/>
                    <a:pt x="0" y="303466"/>
                  </a:cubicBezTo>
                  <a:lnTo>
                    <a:pt x="0" y="427387"/>
                  </a:lnTo>
                  <a:lnTo>
                    <a:pt x="57341" y="426530"/>
                  </a:lnTo>
                  <a:lnTo>
                    <a:pt x="411099" y="426530"/>
                  </a:lnTo>
                  <a:cubicBezTo>
                    <a:pt x="442817" y="426530"/>
                    <a:pt x="468725" y="452438"/>
                    <a:pt x="468725" y="484156"/>
                  </a:cubicBezTo>
                  <a:lnTo>
                    <a:pt x="468725" y="669512"/>
                  </a:lnTo>
                  <a:cubicBezTo>
                    <a:pt x="468725" y="701230"/>
                    <a:pt x="442817" y="727138"/>
                    <a:pt x="411099" y="727138"/>
                  </a:cubicBezTo>
                  <a:lnTo>
                    <a:pt x="390716" y="727138"/>
                  </a:lnTo>
                  <a:cubicBezTo>
                    <a:pt x="346139" y="727138"/>
                    <a:pt x="309753" y="763524"/>
                    <a:pt x="309753" y="808101"/>
                  </a:cubicBezTo>
                  <a:lnTo>
                    <a:pt x="309753" y="946975"/>
                  </a:lnTo>
                  <a:cubicBezTo>
                    <a:pt x="309753" y="979456"/>
                    <a:pt x="283845" y="1006030"/>
                    <a:pt x="252127" y="1006030"/>
                  </a:cubicBezTo>
                  <a:lnTo>
                    <a:pt x="231743" y="1006030"/>
                  </a:lnTo>
                  <a:cubicBezTo>
                    <a:pt x="187166" y="1006030"/>
                    <a:pt x="150781" y="1042416"/>
                    <a:pt x="150781" y="1086993"/>
                  </a:cubicBezTo>
                  <a:lnTo>
                    <a:pt x="150781" y="1293495"/>
                  </a:lnTo>
                  <a:lnTo>
                    <a:pt x="107347" y="1294162"/>
                  </a:lnTo>
                  <a:cubicBezTo>
                    <a:pt x="109347" y="1294352"/>
                    <a:pt x="111347" y="1294352"/>
                    <a:pt x="113348" y="1294352"/>
                  </a:cubicBezTo>
                  <a:lnTo>
                    <a:pt x="226600" y="1294352"/>
                  </a:lnTo>
                  <a:cubicBezTo>
                    <a:pt x="266605" y="1294352"/>
                    <a:pt x="300038" y="1322832"/>
                    <a:pt x="306515" y="1362266"/>
                  </a:cubicBezTo>
                  <a:cubicBezTo>
                    <a:pt x="312992" y="1401889"/>
                    <a:pt x="347567" y="1432274"/>
                    <a:pt x="388906" y="1432274"/>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4" name="Freeform: Shape 73">
              <a:extLst>
                <a:ext uri="{FF2B5EF4-FFF2-40B4-BE49-F238E27FC236}">
                  <a16:creationId xmlns:a16="http://schemas.microsoft.com/office/drawing/2014/main" id="{4B519E33-07A0-4069-ACAA-B67B710CD6A1}"/>
                </a:ext>
              </a:extLst>
            </p:cNvPr>
            <p:cNvSpPr/>
            <p:nvPr/>
          </p:nvSpPr>
          <p:spPr>
            <a:xfrm>
              <a:off x="3572367" y="5286168"/>
              <a:ext cx="417766" cy="299656"/>
            </a:xfrm>
            <a:custGeom>
              <a:avLst/>
              <a:gdLst>
                <a:gd name="connsiteX0" fmla="*/ 0 w 417766"/>
                <a:gd name="connsiteY0" fmla="*/ 57626 h 299656"/>
                <a:gd name="connsiteX1" fmla="*/ 0 w 417766"/>
                <a:gd name="connsiteY1" fmla="*/ 77628 h 299656"/>
                <a:gd name="connsiteX2" fmla="*/ 57626 w 417766"/>
                <a:gd name="connsiteY2" fmla="*/ 135255 h 299656"/>
                <a:gd name="connsiteX3" fmla="*/ 201549 w 417766"/>
                <a:gd name="connsiteY3" fmla="*/ 135255 h 299656"/>
                <a:gd name="connsiteX4" fmla="*/ 282512 w 417766"/>
                <a:gd name="connsiteY4" fmla="*/ 216218 h 299656"/>
                <a:gd name="connsiteX5" fmla="*/ 282512 w 417766"/>
                <a:gd name="connsiteY5" fmla="*/ 242030 h 299656"/>
                <a:gd name="connsiteX6" fmla="*/ 340138 w 417766"/>
                <a:gd name="connsiteY6" fmla="*/ 299656 h 299656"/>
                <a:gd name="connsiteX7" fmla="*/ 360140 w 417766"/>
                <a:gd name="connsiteY7" fmla="*/ 299656 h 299656"/>
                <a:gd name="connsiteX8" fmla="*/ 417767 w 417766"/>
                <a:gd name="connsiteY8" fmla="*/ 242030 h 299656"/>
                <a:gd name="connsiteX9" fmla="*/ 417767 w 417766"/>
                <a:gd name="connsiteY9" fmla="*/ 77628 h 299656"/>
                <a:gd name="connsiteX10" fmla="*/ 417767 w 417766"/>
                <a:gd name="connsiteY10" fmla="*/ 57626 h 299656"/>
                <a:gd name="connsiteX11" fmla="*/ 417767 w 417766"/>
                <a:gd name="connsiteY11" fmla="*/ 56102 h 299656"/>
                <a:gd name="connsiteX12" fmla="*/ 417767 w 417766"/>
                <a:gd name="connsiteY12" fmla="*/ 56102 h 299656"/>
                <a:gd name="connsiteX13" fmla="*/ 417671 w 417766"/>
                <a:gd name="connsiteY13" fmla="*/ 54673 h 299656"/>
                <a:gd name="connsiteX14" fmla="*/ 417671 w 417766"/>
                <a:gd name="connsiteY14" fmla="*/ 54673 h 299656"/>
                <a:gd name="connsiteX15" fmla="*/ 417576 w 417766"/>
                <a:gd name="connsiteY15" fmla="*/ 53244 h 299656"/>
                <a:gd name="connsiteX16" fmla="*/ 417576 w 417766"/>
                <a:gd name="connsiteY16" fmla="*/ 53244 h 299656"/>
                <a:gd name="connsiteX17" fmla="*/ 417481 w 417766"/>
                <a:gd name="connsiteY17" fmla="*/ 51816 h 299656"/>
                <a:gd name="connsiteX18" fmla="*/ 417481 w 417766"/>
                <a:gd name="connsiteY18" fmla="*/ 51816 h 299656"/>
                <a:gd name="connsiteX19" fmla="*/ 417290 w 417766"/>
                <a:gd name="connsiteY19" fmla="*/ 50387 h 299656"/>
                <a:gd name="connsiteX20" fmla="*/ 417290 w 417766"/>
                <a:gd name="connsiteY20" fmla="*/ 50387 h 299656"/>
                <a:gd name="connsiteX21" fmla="*/ 417100 w 417766"/>
                <a:gd name="connsiteY21" fmla="*/ 48958 h 299656"/>
                <a:gd name="connsiteX22" fmla="*/ 417100 w 417766"/>
                <a:gd name="connsiteY22" fmla="*/ 48958 h 299656"/>
                <a:gd name="connsiteX23" fmla="*/ 416909 w 417766"/>
                <a:gd name="connsiteY23" fmla="*/ 47530 h 299656"/>
                <a:gd name="connsiteX24" fmla="*/ 416909 w 417766"/>
                <a:gd name="connsiteY24" fmla="*/ 47530 h 299656"/>
                <a:gd name="connsiteX25" fmla="*/ 416623 w 417766"/>
                <a:gd name="connsiteY25" fmla="*/ 46101 h 299656"/>
                <a:gd name="connsiteX26" fmla="*/ 416623 w 417766"/>
                <a:gd name="connsiteY26" fmla="*/ 46101 h 299656"/>
                <a:gd name="connsiteX27" fmla="*/ 416338 w 417766"/>
                <a:gd name="connsiteY27" fmla="*/ 44672 h 299656"/>
                <a:gd name="connsiteX28" fmla="*/ 416338 w 417766"/>
                <a:gd name="connsiteY28" fmla="*/ 44672 h 299656"/>
                <a:gd name="connsiteX29" fmla="*/ 415957 w 417766"/>
                <a:gd name="connsiteY29" fmla="*/ 43243 h 299656"/>
                <a:gd name="connsiteX30" fmla="*/ 415957 w 417766"/>
                <a:gd name="connsiteY30" fmla="*/ 43243 h 299656"/>
                <a:gd name="connsiteX31" fmla="*/ 415576 w 417766"/>
                <a:gd name="connsiteY31" fmla="*/ 41910 h 299656"/>
                <a:gd name="connsiteX32" fmla="*/ 415576 w 417766"/>
                <a:gd name="connsiteY32" fmla="*/ 41910 h 299656"/>
                <a:gd name="connsiteX33" fmla="*/ 415195 w 417766"/>
                <a:gd name="connsiteY33" fmla="*/ 40577 h 299656"/>
                <a:gd name="connsiteX34" fmla="*/ 415195 w 417766"/>
                <a:gd name="connsiteY34" fmla="*/ 40577 h 299656"/>
                <a:gd name="connsiteX35" fmla="*/ 414719 w 417766"/>
                <a:gd name="connsiteY35" fmla="*/ 39243 h 299656"/>
                <a:gd name="connsiteX36" fmla="*/ 414719 w 417766"/>
                <a:gd name="connsiteY36" fmla="*/ 39243 h 299656"/>
                <a:gd name="connsiteX37" fmla="*/ 414242 w 417766"/>
                <a:gd name="connsiteY37" fmla="*/ 37909 h 299656"/>
                <a:gd name="connsiteX38" fmla="*/ 414242 w 417766"/>
                <a:gd name="connsiteY38" fmla="*/ 37909 h 299656"/>
                <a:gd name="connsiteX39" fmla="*/ 413766 w 417766"/>
                <a:gd name="connsiteY39" fmla="*/ 36576 h 299656"/>
                <a:gd name="connsiteX40" fmla="*/ 413766 w 417766"/>
                <a:gd name="connsiteY40" fmla="*/ 36576 h 299656"/>
                <a:gd name="connsiteX41" fmla="*/ 413195 w 417766"/>
                <a:gd name="connsiteY41" fmla="*/ 35243 h 299656"/>
                <a:gd name="connsiteX42" fmla="*/ 413195 w 417766"/>
                <a:gd name="connsiteY42" fmla="*/ 35243 h 299656"/>
                <a:gd name="connsiteX43" fmla="*/ 412623 w 417766"/>
                <a:gd name="connsiteY43" fmla="*/ 34004 h 299656"/>
                <a:gd name="connsiteX44" fmla="*/ 412623 w 417766"/>
                <a:gd name="connsiteY44" fmla="*/ 34004 h 299656"/>
                <a:gd name="connsiteX45" fmla="*/ 412052 w 417766"/>
                <a:gd name="connsiteY45" fmla="*/ 32766 h 299656"/>
                <a:gd name="connsiteX46" fmla="*/ 412052 w 417766"/>
                <a:gd name="connsiteY46" fmla="*/ 32766 h 299656"/>
                <a:gd name="connsiteX47" fmla="*/ 411385 w 417766"/>
                <a:gd name="connsiteY47" fmla="*/ 31528 h 299656"/>
                <a:gd name="connsiteX48" fmla="*/ 411385 w 417766"/>
                <a:gd name="connsiteY48" fmla="*/ 31528 h 299656"/>
                <a:gd name="connsiteX49" fmla="*/ 410718 w 417766"/>
                <a:gd name="connsiteY49" fmla="*/ 30289 h 299656"/>
                <a:gd name="connsiteX50" fmla="*/ 410718 w 417766"/>
                <a:gd name="connsiteY50" fmla="*/ 30289 h 299656"/>
                <a:gd name="connsiteX51" fmla="*/ 410051 w 417766"/>
                <a:gd name="connsiteY51" fmla="*/ 29051 h 299656"/>
                <a:gd name="connsiteX52" fmla="*/ 410051 w 417766"/>
                <a:gd name="connsiteY52" fmla="*/ 29051 h 299656"/>
                <a:gd name="connsiteX53" fmla="*/ 409385 w 417766"/>
                <a:gd name="connsiteY53" fmla="*/ 27813 h 299656"/>
                <a:gd name="connsiteX54" fmla="*/ 409385 w 417766"/>
                <a:gd name="connsiteY54" fmla="*/ 27813 h 299656"/>
                <a:gd name="connsiteX55" fmla="*/ 408622 w 417766"/>
                <a:gd name="connsiteY55" fmla="*/ 26670 h 299656"/>
                <a:gd name="connsiteX56" fmla="*/ 408622 w 417766"/>
                <a:gd name="connsiteY56" fmla="*/ 26670 h 299656"/>
                <a:gd name="connsiteX57" fmla="*/ 407861 w 417766"/>
                <a:gd name="connsiteY57" fmla="*/ 25527 h 299656"/>
                <a:gd name="connsiteX58" fmla="*/ 407861 w 417766"/>
                <a:gd name="connsiteY58" fmla="*/ 25527 h 299656"/>
                <a:gd name="connsiteX59" fmla="*/ 407098 w 417766"/>
                <a:gd name="connsiteY59" fmla="*/ 24384 h 299656"/>
                <a:gd name="connsiteX60" fmla="*/ 407098 w 417766"/>
                <a:gd name="connsiteY60" fmla="*/ 24384 h 299656"/>
                <a:gd name="connsiteX61" fmla="*/ 406241 w 417766"/>
                <a:gd name="connsiteY61" fmla="*/ 23241 h 299656"/>
                <a:gd name="connsiteX62" fmla="*/ 406241 w 417766"/>
                <a:gd name="connsiteY62" fmla="*/ 23241 h 299656"/>
                <a:gd name="connsiteX63" fmla="*/ 405384 w 417766"/>
                <a:gd name="connsiteY63" fmla="*/ 22193 h 299656"/>
                <a:gd name="connsiteX64" fmla="*/ 405384 w 417766"/>
                <a:gd name="connsiteY64" fmla="*/ 22193 h 299656"/>
                <a:gd name="connsiteX65" fmla="*/ 404527 w 417766"/>
                <a:gd name="connsiteY65" fmla="*/ 21145 h 299656"/>
                <a:gd name="connsiteX66" fmla="*/ 404527 w 417766"/>
                <a:gd name="connsiteY66" fmla="*/ 21145 h 299656"/>
                <a:gd name="connsiteX67" fmla="*/ 403670 w 417766"/>
                <a:gd name="connsiteY67" fmla="*/ 20098 h 299656"/>
                <a:gd name="connsiteX68" fmla="*/ 403670 w 417766"/>
                <a:gd name="connsiteY68" fmla="*/ 20098 h 299656"/>
                <a:gd name="connsiteX69" fmla="*/ 402717 w 417766"/>
                <a:gd name="connsiteY69" fmla="*/ 19050 h 299656"/>
                <a:gd name="connsiteX70" fmla="*/ 402717 w 417766"/>
                <a:gd name="connsiteY70" fmla="*/ 19050 h 299656"/>
                <a:gd name="connsiteX71" fmla="*/ 401764 w 417766"/>
                <a:gd name="connsiteY71" fmla="*/ 18002 h 299656"/>
                <a:gd name="connsiteX72" fmla="*/ 401764 w 417766"/>
                <a:gd name="connsiteY72" fmla="*/ 18002 h 299656"/>
                <a:gd name="connsiteX73" fmla="*/ 400812 w 417766"/>
                <a:gd name="connsiteY73" fmla="*/ 17050 h 299656"/>
                <a:gd name="connsiteX74" fmla="*/ 400812 w 417766"/>
                <a:gd name="connsiteY74" fmla="*/ 17050 h 299656"/>
                <a:gd name="connsiteX75" fmla="*/ 399860 w 417766"/>
                <a:gd name="connsiteY75" fmla="*/ 16097 h 299656"/>
                <a:gd name="connsiteX76" fmla="*/ 399860 w 417766"/>
                <a:gd name="connsiteY76" fmla="*/ 16097 h 299656"/>
                <a:gd name="connsiteX77" fmla="*/ 398812 w 417766"/>
                <a:gd name="connsiteY77" fmla="*/ 15144 h 299656"/>
                <a:gd name="connsiteX78" fmla="*/ 398812 w 417766"/>
                <a:gd name="connsiteY78" fmla="*/ 15144 h 299656"/>
                <a:gd name="connsiteX79" fmla="*/ 397764 w 417766"/>
                <a:gd name="connsiteY79" fmla="*/ 14192 h 299656"/>
                <a:gd name="connsiteX80" fmla="*/ 397764 w 417766"/>
                <a:gd name="connsiteY80" fmla="*/ 14192 h 299656"/>
                <a:gd name="connsiteX81" fmla="*/ 396716 w 417766"/>
                <a:gd name="connsiteY81" fmla="*/ 13335 h 299656"/>
                <a:gd name="connsiteX82" fmla="*/ 396716 w 417766"/>
                <a:gd name="connsiteY82" fmla="*/ 13335 h 299656"/>
                <a:gd name="connsiteX83" fmla="*/ 395669 w 417766"/>
                <a:gd name="connsiteY83" fmla="*/ 12478 h 299656"/>
                <a:gd name="connsiteX84" fmla="*/ 395669 w 417766"/>
                <a:gd name="connsiteY84" fmla="*/ 12478 h 299656"/>
                <a:gd name="connsiteX85" fmla="*/ 394621 w 417766"/>
                <a:gd name="connsiteY85" fmla="*/ 11620 h 299656"/>
                <a:gd name="connsiteX86" fmla="*/ 394621 w 417766"/>
                <a:gd name="connsiteY86" fmla="*/ 11620 h 299656"/>
                <a:gd name="connsiteX87" fmla="*/ 393478 w 417766"/>
                <a:gd name="connsiteY87" fmla="*/ 10763 h 299656"/>
                <a:gd name="connsiteX88" fmla="*/ 393478 w 417766"/>
                <a:gd name="connsiteY88" fmla="*/ 10763 h 299656"/>
                <a:gd name="connsiteX89" fmla="*/ 392335 w 417766"/>
                <a:gd name="connsiteY89" fmla="*/ 10001 h 299656"/>
                <a:gd name="connsiteX90" fmla="*/ 392335 w 417766"/>
                <a:gd name="connsiteY90" fmla="*/ 10001 h 299656"/>
                <a:gd name="connsiteX91" fmla="*/ 391192 w 417766"/>
                <a:gd name="connsiteY91" fmla="*/ 9239 h 299656"/>
                <a:gd name="connsiteX92" fmla="*/ 391192 w 417766"/>
                <a:gd name="connsiteY92" fmla="*/ 9239 h 299656"/>
                <a:gd name="connsiteX93" fmla="*/ 390049 w 417766"/>
                <a:gd name="connsiteY93" fmla="*/ 8477 h 299656"/>
                <a:gd name="connsiteX94" fmla="*/ 390049 w 417766"/>
                <a:gd name="connsiteY94" fmla="*/ 8477 h 299656"/>
                <a:gd name="connsiteX95" fmla="*/ 388811 w 417766"/>
                <a:gd name="connsiteY95" fmla="*/ 7811 h 299656"/>
                <a:gd name="connsiteX96" fmla="*/ 388811 w 417766"/>
                <a:gd name="connsiteY96" fmla="*/ 7811 h 299656"/>
                <a:gd name="connsiteX97" fmla="*/ 387572 w 417766"/>
                <a:gd name="connsiteY97" fmla="*/ 7144 h 299656"/>
                <a:gd name="connsiteX98" fmla="*/ 387572 w 417766"/>
                <a:gd name="connsiteY98" fmla="*/ 7144 h 299656"/>
                <a:gd name="connsiteX99" fmla="*/ 386334 w 417766"/>
                <a:gd name="connsiteY99" fmla="*/ 6477 h 299656"/>
                <a:gd name="connsiteX100" fmla="*/ 386334 w 417766"/>
                <a:gd name="connsiteY100" fmla="*/ 6477 h 299656"/>
                <a:gd name="connsiteX101" fmla="*/ 385096 w 417766"/>
                <a:gd name="connsiteY101" fmla="*/ 5810 h 299656"/>
                <a:gd name="connsiteX102" fmla="*/ 385096 w 417766"/>
                <a:gd name="connsiteY102" fmla="*/ 5810 h 299656"/>
                <a:gd name="connsiteX103" fmla="*/ 383858 w 417766"/>
                <a:gd name="connsiteY103" fmla="*/ 5239 h 299656"/>
                <a:gd name="connsiteX104" fmla="*/ 383858 w 417766"/>
                <a:gd name="connsiteY104" fmla="*/ 5239 h 299656"/>
                <a:gd name="connsiteX105" fmla="*/ 382619 w 417766"/>
                <a:gd name="connsiteY105" fmla="*/ 4667 h 299656"/>
                <a:gd name="connsiteX106" fmla="*/ 382619 w 417766"/>
                <a:gd name="connsiteY106" fmla="*/ 4667 h 299656"/>
                <a:gd name="connsiteX107" fmla="*/ 381286 w 417766"/>
                <a:gd name="connsiteY107" fmla="*/ 4096 h 299656"/>
                <a:gd name="connsiteX108" fmla="*/ 381286 w 417766"/>
                <a:gd name="connsiteY108" fmla="*/ 4096 h 299656"/>
                <a:gd name="connsiteX109" fmla="*/ 379952 w 417766"/>
                <a:gd name="connsiteY109" fmla="*/ 3620 h 299656"/>
                <a:gd name="connsiteX110" fmla="*/ 379952 w 417766"/>
                <a:gd name="connsiteY110" fmla="*/ 3620 h 299656"/>
                <a:gd name="connsiteX111" fmla="*/ 378619 w 417766"/>
                <a:gd name="connsiteY111" fmla="*/ 3143 h 299656"/>
                <a:gd name="connsiteX112" fmla="*/ 378619 w 417766"/>
                <a:gd name="connsiteY112" fmla="*/ 3143 h 299656"/>
                <a:gd name="connsiteX113" fmla="*/ 377285 w 417766"/>
                <a:gd name="connsiteY113" fmla="*/ 2667 h 299656"/>
                <a:gd name="connsiteX114" fmla="*/ 377285 w 417766"/>
                <a:gd name="connsiteY114" fmla="*/ 2667 h 299656"/>
                <a:gd name="connsiteX115" fmla="*/ 375952 w 417766"/>
                <a:gd name="connsiteY115" fmla="*/ 2286 h 299656"/>
                <a:gd name="connsiteX116" fmla="*/ 375952 w 417766"/>
                <a:gd name="connsiteY116" fmla="*/ 2286 h 299656"/>
                <a:gd name="connsiteX117" fmla="*/ 374618 w 417766"/>
                <a:gd name="connsiteY117" fmla="*/ 1905 h 299656"/>
                <a:gd name="connsiteX118" fmla="*/ 374618 w 417766"/>
                <a:gd name="connsiteY118" fmla="*/ 1905 h 299656"/>
                <a:gd name="connsiteX119" fmla="*/ 373285 w 417766"/>
                <a:gd name="connsiteY119" fmla="*/ 1524 h 299656"/>
                <a:gd name="connsiteX120" fmla="*/ 373285 w 417766"/>
                <a:gd name="connsiteY120" fmla="*/ 1524 h 299656"/>
                <a:gd name="connsiteX121" fmla="*/ 371856 w 417766"/>
                <a:gd name="connsiteY121" fmla="*/ 1238 h 299656"/>
                <a:gd name="connsiteX122" fmla="*/ 371856 w 417766"/>
                <a:gd name="connsiteY122" fmla="*/ 1238 h 299656"/>
                <a:gd name="connsiteX123" fmla="*/ 370427 w 417766"/>
                <a:gd name="connsiteY123" fmla="*/ 952 h 299656"/>
                <a:gd name="connsiteX124" fmla="*/ 370427 w 417766"/>
                <a:gd name="connsiteY124" fmla="*/ 952 h 299656"/>
                <a:gd name="connsiteX125" fmla="*/ 368998 w 417766"/>
                <a:gd name="connsiteY125" fmla="*/ 667 h 299656"/>
                <a:gd name="connsiteX126" fmla="*/ 368998 w 417766"/>
                <a:gd name="connsiteY126" fmla="*/ 667 h 299656"/>
                <a:gd name="connsiteX127" fmla="*/ 367570 w 417766"/>
                <a:gd name="connsiteY127" fmla="*/ 476 h 299656"/>
                <a:gd name="connsiteX128" fmla="*/ 367570 w 417766"/>
                <a:gd name="connsiteY128" fmla="*/ 476 h 299656"/>
                <a:gd name="connsiteX129" fmla="*/ 366141 w 417766"/>
                <a:gd name="connsiteY129" fmla="*/ 285 h 299656"/>
                <a:gd name="connsiteX130" fmla="*/ 366141 w 417766"/>
                <a:gd name="connsiteY130" fmla="*/ 285 h 299656"/>
                <a:gd name="connsiteX131" fmla="*/ 364712 w 417766"/>
                <a:gd name="connsiteY131" fmla="*/ 190 h 299656"/>
                <a:gd name="connsiteX132" fmla="*/ 364712 w 417766"/>
                <a:gd name="connsiteY132" fmla="*/ 190 h 299656"/>
                <a:gd name="connsiteX133" fmla="*/ 363284 w 417766"/>
                <a:gd name="connsiteY133" fmla="*/ 95 h 299656"/>
                <a:gd name="connsiteX134" fmla="*/ 363284 w 417766"/>
                <a:gd name="connsiteY134" fmla="*/ 95 h 299656"/>
                <a:gd name="connsiteX135" fmla="*/ 362807 w 417766"/>
                <a:gd name="connsiteY135" fmla="*/ 95 h 299656"/>
                <a:gd name="connsiteX136" fmla="*/ 360902 w 417766"/>
                <a:gd name="connsiteY136" fmla="*/ 0 h 299656"/>
                <a:gd name="connsiteX137" fmla="*/ 360426 w 417766"/>
                <a:gd name="connsiteY137" fmla="*/ 0 h 299656"/>
                <a:gd name="connsiteX138" fmla="*/ 360426 w 417766"/>
                <a:gd name="connsiteY138" fmla="*/ 0 h 299656"/>
                <a:gd name="connsiteX139" fmla="*/ 340423 w 417766"/>
                <a:gd name="connsiteY139" fmla="*/ 0 h 299656"/>
                <a:gd name="connsiteX140" fmla="*/ 57912 w 417766"/>
                <a:gd name="connsiteY140" fmla="*/ 0 h 299656"/>
                <a:gd name="connsiteX141" fmla="*/ 0 w 417766"/>
                <a:gd name="connsiteY141" fmla="*/ 57626 h 299656"/>
                <a:gd name="connsiteX142" fmla="*/ 0 w 417766"/>
                <a:gd name="connsiteY142" fmla="*/ 57626 h 299656"/>
                <a:gd name="connsiteX143" fmla="*/ 417767 w 417766"/>
                <a:gd name="connsiteY143" fmla="*/ 57626 h 299656"/>
                <a:gd name="connsiteX144" fmla="*/ 417767 w 417766"/>
                <a:gd name="connsiteY144" fmla="*/ 57626 h 299656"/>
                <a:gd name="connsiteX145" fmla="*/ 417767 w 417766"/>
                <a:gd name="connsiteY145" fmla="*/ 57626 h 29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17766" h="299656">
                  <a:moveTo>
                    <a:pt x="0" y="57626"/>
                  </a:moveTo>
                  <a:lnTo>
                    <a:pt x="0" y="77628"/>
                  </a:lnTo>
                  <a:cubicBezTo>
                    <a:pt x="0" y="109347"/>
                    <a:pt x="25908" y="135255"/>
                    <a:pt x="57626" y="135255"/>
                  </a:cubicBezTo>
                  <a:lnTo>
                    <a:pt x="201549" y="135255"/>
                  </a:lnTo>
                  <a:cubicBezTo>
                    <a:pt x="246126" y="135255"/>
                    <a:pt x="282512" y="171640"/>
                    <a:pt x="282512" y="216218"/>
                  </a:cubicBezTo>
                  <a:lnTo>
                    <a:pt x="282512" y="242030"/>
                  </a:lnTo>
                  <a:cubicBezTo>
                    <a:pt x="282512" y="273748"/>
                    <a:pt x="308420" y="299656"/>
                    <a:pt x="340138" y="299656"/>
                  </a:cubicBezTo>
                  <a:lnTo>
                    <a:pt x="360140" y="299656"/>
                  </a:lnTo>
                  <a:cubicBezTo>
                    <a:pt x="391859" y="299656"/>
                    <a:pt x="417767" y="273748"/>
                    <a:pt x="417767" y="242030"/>
                  </a:cubicBezTo>
                  <a:lnTo>
                    <a:pt x="417767" y="77628"/>
                  </a:lnTo>
                  <a:lnTo>
                    <a:pt x="417767" y="57626"/>
                  </a:lnTo>
                  <a:lnTo>
                    <a:pt x="417767" y="56102"/>
                  </a:lnTo>
                  <a:lnTo>
                    <a:pt x="417767" y="56102"/>
                  </a:lnTo>
                  <a:lnTo>
                    <a:pt x="417671" y="54673"/>
                  </a:lnTo>
                  <a:lnTo>
                    <a:pt x="417671" y="54673"/>
                  </a:lnTo>
                  <a:lnTo>
                    <a:pt x="417576" y="53244"/>
                  </a:lnTo>
                  <a:lnTo>
                    <a:pt x="417576" y="53244"/>
                  </a:lnTo>
                  <a:lnTo>
                    <a:pt x="417481" y="51816"/>
                  </a:lnTo>
                  <a:lnTo>
                    <a:pt x="417481" y="51816"/>
                  </a:lnTo>
                  <a:lnTo>
                    <a:pt x="417290" y="50387"/>
                  </a:lnTo>
                  <a:lnTo>
                    <a:pt x="417290" y="50387"/>
                  </a:lnTo>
                  <a:lnTo>
                    <a:pt x="417100" y="48958"/>
                  </a:lnTo>
                  <a:lnTo>
                    <a:pt x="417100" y="48958"/>
                  </a:lnTo>
                  <a:lnTo>
                    <a:pt x="416909" y="47530"/>
                  </a:lnTo>
                  <a:lnTo>
                    <a:pt x="416909" y="47530"/>
                  </a:lnTo>
                  <a:cubicBezTo>
                    <a:pt x="416814" y="47054"/>
                    <a:pt x="416719" y="46577"/>
                    <a:pt x="416623" y="46101"/>
                  </a:cubicBezTo>
                  <a:lnTo>
                    <a:pt x="416623" y="46101"/>
                  </a:lnTo>
                  <a:lnTo>
                    <a:pt x="416338" y="44672"/>
                  </a:lnTo>
                  <a:lnTo>
                    <a:pt x="416338" y="44672"/>
                  </a:lnTo>
                  <a:lnTo>
                    <a:pt x="415957" y="43243"/>
                  </a:lnTo>
                  <a:lnTo>
                    <a:pt x="415957" y="43243"/>
                  </a:lnTo>
                  <a:lnTo>
                    <a:pt x="415576" y="41910"/>
                  </a:lnTo>
                  <a:lnTo>
                    <a:pt x="415576" y="41910"/>
                  </a:lnTo>
                  <a:lnTo>
                    <a:pt x="415195" y="40577"/>
                  </a:lnTo>
                  <a:lnTo>
                    <a:pt x="415195" y="40577"/>
                  </a:lnTo>
                  <a:lnTo>
                    <a:pt x="414719" y="39243"/>
                  </a:lnTo>
                  <a:lnTo>
                    <a:pt x="414719" y="39243"/>
                  </a:lnTo>
                  <a:lnTo>
                    <a:pt x="414242" y="37909"/>
                  </a:lnTo>
                  <a:lnTo>
                    <a:pt x="414242" y="37909"/>
                  </a:lnTo>
                  <a:lnTo>
                    <a:pt x="413766" y="36576"/>
                  </a:lnTo>
                  <a:lnTo>
                    <a:pt x="413766" y="36576"/>
                  </a:lnTo>
                  <a:lnTo>
                    <a:pt x="413195" y="35243"/>
                  </a:lnTo>
                  <a:lnTo>
                    <a:pt x="413195" y="35243"/>
                  </a:lnTo>
                  <a:lnTo>
                    <a:pt x="412623" y="34004"/>
                  </a:lnTo>
                  <a:lnTo>
                    <a:pt x="412623" y="34004"/>
                  </a:lnTo>
                  <a:lnTo>
                    <a:pt x="412052" y="32766"/>
                  </a:lnTo>
                  <a:lnTo>
                    <a:pt x="412052" y="32766"/>
                  </a:lnTo>
                  <a:lnTo>
                    <a:pt x="411385" y="31528"/>
                  </a:lnTo>
                  <a:lnTo>
                    <a:pt x="411385" y="31528"/>
                  </a:lnTo>
                  <a:cubicBezTo>
                    <a:pt x="411194" y="31146"/>
                    <a:pt x="411004" y="30670"/>
                    <a:pt x="410718" y="30289"/>
                  </a:cubicBezTo>
                  <a:lnTo>
                    <a:pt x="410718" y="30289"/>
                  </a:lnTo>
                  <a:lnTo>
                    <a:pt x="410051" y="29051"/>
                  </a:lnTo>
                  <a:lnTo>
                    <a:pt x="410051" y="29051"/>
                  </a:lnTo>
                  <a:cubicBezTo>
                    <a:pt x="409861" y="28670"/>
                    <a:pt x="409575" y="28289"/>
                    <a:pt x="409385" y="27813"/>
                  </a:cubicBezTo>
                  <a:lnTo>
                    <a:pt x="409385" y="27813"/>
                  </a:lnTo>
                  <a:lnTo>
                    <a:pt x="408622" y="26670"/>
                  </a:lnTo>
                  <a:lnTo>
                    <a:pt x="408622" y="26670"/>
                  </a:lnTo>
                  <a:lnTo>
                    <a:pt x="407861" y="25527"/>
                  </a:lnTo>
                  <a:lnTo>
                    <a:pt x="407861" y="25527"/>
                  </a:lnTo>
                  <a:lnTo>
                    <a:pt x="407098" y="24384"/>
                  </a:lnTo>
                  <a:lnTo>
                    <a:pt x="407098" y="24384"/>
                  </a:lnTo>
                  <a:lnTo>
                    <a:pt x="406241" y="23241"/>
                  </a:lnTo>
                  <a:lnTo>
                    <a:pt x="406241" y="23241"/>
                  </a:lnTo>
                  <a:lnTo>
                    <a:pt x="405384" y="22193"/>
                  </a:lnTo>
                  <a:lnTo>
                    <a:pt x="405384" y="22193"/>
                  </a:lnTo>
                  <a:cubicBezTo>
                    <a:pt x="405098" y="21812"/>
                    <a:pt x="404813" y="21431"/>
                    <a:pt x="404527" y="21145"/>
                  </a:cubicBezTo>
                  <a:lnTo>
                    <a:pt x="404527" y="21145"/>
                  </a:lnTo>
                  <a:lnTo>
                    <a:pt x="403670" y="20098"/>
                  </a:lnTo>
                  <a:lnTo>
                    <a:pt x="403670" y="20098"/>
                  </a:lnTo>
                  <a:lnTo>
                    <a:pt x="402717" y="19050"/>
                  </a:lnTo>
                  <a:lnTo>
                    <a:pt x="402717" y="19050"/>
                  </a:lnTo>
                  <a:lnTo>
                    <a:pt x="401764" y="18002"/>
                  </a:lnTo>
                  <a:lnTo>
                    <a:pt x="401764" y="18002"/>
                  </a:lnTo>
                  <a:lnTo>
                    <a:pt x="400812" y="17050"/>
                  </a:lnTo>
                  <a:lnTo>
                    <a:pt x="400812" y="17050"/>
                  </a:lnTo>
                  <a:lnTo>
                    <a:pt x="399860" y="16097"/>
                  </a:lnTo>
                  <a:lnTo>
                    <a:pt x="399860" y="16097"/>
                  </a:lnTo>
                  <a:lnTo>
                    <a:pt x="398812" y="15144"/>
                  </a:lnTo>
                  <a:lnTo>
                    <a:pt x="398812" y="15144"/>
                  </a:lnTo>
                  <a:lnTo>
                    <a:pt x="397764" y="14192"/>
                  </a:lnTo>
                  <a:lnTo>
                    <a:pt x="397764" y="14192"/>
                  </a:lnTo>
                  <a:lnTo>
                    <a:pt x="396716" y="13335"/>
                  </a:lnTo>
                  <a:lnTo>
                    <a:pt x="396716" y="13335"/>
                  </a:lnTo>
                  <a:cubicBezTo>
                    <a:pt x="396335" y="13049"/>
                    <a:pt x="395954" y="12763"/>
                    <a:pt x="395669" y="12478"/>
                  </a:cubicBezTo>
                  <a:lnTo>
                    <a:pt x="395669" y="12478"/>
                  </a:lnTo>
                  <a:cubicBezTo>
                    <a:pt x="395288" y="12192"/>
                    <a:pt x="394906" y="11906"/>
                    <a:pt x="394621" y="11620"/>
                  </a:cubicBezTo>
                  <a:lnTo>
                    <a:pt x="394621" y="11620"/>
                  </a:lnTo>
                  <a:lnTo>
                    <a:pt x="393478" y="10763"/>
                  </a:lnTo>
                  <a:lnTo>
                    <a:pt x="393478" y="10763"/>
                  </a:lnTo>
                  <a:lnTo>
                    <a:pt x="392335" y="10001"/>
                  </a:lnTo>
                  <a:lnTo>
                    <a:pt x="392335" y="10001"/>
                  </a:lnTo>
                  <a:lnTo>
                    <a:pt x="391192" y="9239"/>
                  </a:lnTo>
                  <a:lnTo>
                    <a:pt x="391192" y="9239"/>
                  </a:lnTo>
                  <a:lnTo>
                    <a:pt x="390049" y="8477"/>
                  </a:lnTo>
                  <a:lnTo>
                    <a:pt x="390049" y="8477"/>
                  </a:lnTo>
                  <a:lnTo>
                    <a:pt x="388811" y="7811"/>
                  </a:lnTo>
                  <a:lnTo>
                    <a:pt x="388811" y="7811"/>
                  </a:lnTo>
                  <a:lnTo>
                    <a:pt x="387572" y="7144"/>
                  </a:lnTo>
                  <a:lnTo>
                    <a:pt x="387572" y="7144"/>
                  </a:lnTo>
                  <a:lnTo>
                    <a:pt x="386334" y="6477"/>
                  </a:lnTo>
                  <a:lnTo>
                    <a:pt x="386334" y="6477"/>
                  </a:lnTo>
                  <a:lnTo>
                    <a:pt x="385096" y="5810"/>
                  </a:lnTo>
                  <a:lnTo>
                    <a:pt x="385096" y="5810"/>
                  </a:lnTo>
                  <a:lnTo>
                    <a:pt x="383858" y="5239"/>
                  </a:lnTo>
                  <a:lnTo>
                    <a:pt x="383858" y="5239"/>
                  </a:lnTo>
                  <a:cubicBezTo>
                    <a:pt x="383477" y="5048"/>
                    <a:pt x="383000" y="4858"/>
                    <a:pt x="382619" y="4667"/>
                  </a:cubicBezTo>
                  <a:lnTo>
                    <a:pt x="382619" y="4667"/>
                  </a:lnTo>
                  <a:lnTo>
                    <a:pt x="381286" y="4096"/>
                  </a:lnTo>
                  <a:lnTo>
                    <a:pt x="381286" y="4096"/>
                  </a:lnTo>
                  <a:lnTo>
                    <a:pt x="379952" y="3620"/>
                  </a:lnTo>
                  <a:lnTo>
                    <a:pt x="379952" y="3620"/>
                  </a:lnTo>
                  <a:lnTo>
                    <a:pt x="378619" y="3143"/>
                  </a:lnTo>
                  <a:lnTo>
                    <a:pt x="378619" y="3143"/>
                  </a:lnTo>
                  <a:lnTo>
                    <a:pt x="377285" y="2667"/>
                  </a:lnTo>
                  <a:lnTo>
                    <a:pt x="377285" y="2667"/>
                  </a:lnTo>
                  <a:lnTo>
                    <a:pt x="375952" y="2286"/>
                  </a:lnTo>
                  <a:lnTo>
                    <a:pt x="375952" y="2286"/>
                  </a:lnTo>
                  <a:lnTo>
                    <a:pt x="374618" y="1905"/>
                  </a:lnTo>
                  <a:lnTo>
                    <a:pt x="374618" y="1905"/>
                  </a:lnTo>
                  <a:lnTo>
                    <a:pt x="373285" y="1524"/>
                  </a:lnTo>
                  <a:lnTo>
                    <a:pt x="373285" y="1524"/>
                  </a:lnTo>
                  <a:lnTo>
                    <a:pt x="371856" y="1238"/>
                  </a:lnTo>
                  <a:lnTo>
                    <a:pt x="371856" y="1238"/>
                  </a:lnTo>
                  <a:cubicBezTo>
                    <a:pt x="371380" y="1143"/>
                    <a:pt x="370904" y="1048"/>
                    <a:pt x="370427" y="952"/>
                  </a:cubicBezTo>
                  <a:lnTo>
                    <a:pt x="370427" y="952"/>
                  </a:lnTo>
                  <a:lnTo>
                    <a:pt x="368998" y="667"/>
                  </a:lnTo>
                  <a:lnTo>
                    <a:pt x="368998" y="667"/>
                  </a:lnTo>
                  <a:lnTo>
                    <a:pt x="367570" y="476"/>
                  </a:lnTo>
                  <a:lnTo>
                    <a:pt x="367570" y="476"/>
                  </a:lnTo>
                  <a:lnTo>
                    <a:pt x="366141" y="285"/>
                  </a:lnTo>
                  <a:lnTo>
                    <a:pt x="366141" y="285"/>
                  </a:lnTo>
                  <a:lnTo>
                    <a:pt x="364712" y="190"/>
                  </a:lnTo>
                  <a:lnTo>
                    <a:pt x="364712" y="190"/>
                  </a:lnTo>
                  <a:lnTo>
                    <a:pt x="363284" y="95"/>
                  </a:lnTo>
                  <a:lnTo>
                    <a:pt x="363284" y="95"/>
                  </a:lnTo>
                  <a:lnTo>
                    <a:pt x="362807" y="95"/>
                  </a:lnTo>
                  <a:cubicBezTo>
                    <a:pt x="362141" y="95"/>
                    <a:pt x="361569" y="95"/>
                    <a:pt x="360902" y="0"/>
                  </a:cubicBezTo>
                  <a:lnTo>
                    <a:pt x="360426" y="0"/>
                  </a:lnTo>
                  <a:lnTo>
                    <a:pt x="360426" y="0"/>
                  </a:lnTo>
                  <a:lnTo>
                    <a:pt x="340423" y="0"/>
                  </a:lnTo>
                  <a:lnTo>
                    <a:pt x="57912" y="0"/>
                  </a:lnTo>
                  <a:cubicBezTo>
                    <a:pt x="25908" y="0"/>
                    <a:pt x="0" y="25908"/>
                    <a:pt x="0" y="57626"/>
                  </a:cubicBezTo>
                  <a:lnTo>
                    <a:pt x="0" y="57626"/>
                  </a:lnTo>
                  <a:close/>
                  <a:moveTo>
                    <a:pt x="417767" y="57626"/>
                  </a:moveTo>
                  <a:lnTo>
                    <a:pt x="417767" y="57626"/>
                  </a:lnTo>
                  <a:lnTo>
                    <a:pt x="417767" y="5762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5" name="Freeform: Shape 74">
              <a:extLst>
                <a:ext uri="{FF2B5EF4-FFF2-40B4-BE49-F238E27FC236}">
                  <a16:creationId xmlns:a16="http://schemas.microsoft.com/office/drawing/2014/main" id="{81C386AB-91B8-4AAD-8BEE-4DEC5D3BFA02}"/>
                </a:ext>
              </a:extLst>
            </p:cNvPr>
            <p:cNvSpPr/>
            <p:nvPr/>
          </p:nvSpPr>
          <p:spPr>
            <a:xfrm>
              <a:off x="2750550" y="3676824"/>
              <a:ext cx="1739455" cy="1600200"/>
            </a:xfrm>
            <a:custGeom>
              <a:avLst/>
              <a:gdLst>
                <a:gd name="connsiteX0" fmla="*/ 476 w 1739455"/>
                <a:gd name="connsiteY0" fmla="*/ 514921 h 1600200"/>
                <a:gd name="connsiteX1" fmla="*/ 48006 w 1739455"/>
                <a:gd name="connsiteY1" fmla="*/ 442722 h 1600200"/>
                <a:gd name="connsiteX2" fmla="*/ 234791 w 1739455"/>
                <a:gd name="connsiteY2" fmla="*/ 442722 h 1600200"/>
                <a:gd name="connsiteX3" fmla="*/ 319373 w 1739455"/>
                <a:gd name="connsiteY3" fmla="*/ 508063 h 1600200"/>
                <a:gd name="connsiteX4" fmla="*/ 319373 w 1739455"/>
                <a:gd name="connsiteY4" fmla="*/ 527018 h 1600200"/>
                <a:gd name="connsiteX5" fmla="*/ 377000 w 1739455"/>
                <a:gd name="connsiteY5" fmla="*/ 584645 h 1600200"/>
                <a:gd name="connsiteX6" fmla="*/ 405098 w 1739455"/>
                <a:gd name="connsiteY6" fmla="*/ 584645 h 1600200"/>
                <a:gd name="connsiteX7" fmla="*/ 486061 w 1739455"/>
                <a:gd name="connsiteY7" fmla="*/ 665607 h 1600200"/>
                <a:gd name="connsiteX8" fmla="*/ 486061 w 1739455"/>
                <a:gd name="connsiteY8" fmla="*/ 672751 h 1600200"/>
                <a:gd name="connsiteX9" fmla="*/ 486061 w 1739455"/>
                <a:gd name="connsiteY9" fmla="*/ 674275 h 1600200"/>
                <a:gd name="connsiteX10" fmla="*/ 486061 w 1739455"/>
                <a:gd name="connsiteY10" fmla="*/ 674275 h 1600200"/>
                <a:gd name="connsiteX11" fmla="*/ 486156 w 1739455"/>
                <a:gd name="connsiteY11" fmla="*/ 675704 h 1600200"/>
                <a:gd name="connsiteX12" fmla="*/ 486156 w 1739455"/>
                <a:gd name="connsiteY12" fmla="*/ 675704 h 1600200"/>
                <a:gd name="connsiteX13" fmla="*/ 486251 w 1739455"/>
                <a:gd name="connsiteY13" fmla="*/ 677132 h 1600200"/>
                <a:gd name="connsiteX14" fmla="*/ 486251 w 1739455"/>
                <a:gd name="connsiteY14" fmla="*/ 677132 h 1600200"/>
                <a:gd name="connsiteX15" fmla="*/ 486346 w 1739455"/>
                <a:gd name="connsiteY15" fmla="*/ 678561 h 1600200"/>
                <a:gd name="connsiteX16" fmla="*/ 486346 w 1739455"/>
                <a:gd name="connsiteY16" fmla="*/ 678561 h 1600200"/>
                <a:gd name="connsiteX17" fmla="*/ 486537 w 1739455"/>
                <a:gd name="connsiteY17" fmla="*/ 679990 h 1600200"/>
                <a:gd name="connsiteX18" fmla="*/ 486537 w 1739455"/>
                <a:gd name="connsiteY18" fmla="*/ 679990 h 1600200"/>
                <a:gd name="connsiteX19" fmla="*/ 486728 w 1739455"/>
                <a:gd name="connsiteY19" fmla="*/ 681419 h 1600200"/>
                <a:gd name="connsiteX20" fmla="*/ 486728 w 1739455"/>
                <a:gd name="connsiteY20" fmla="*/ 681419 h 1600200"/>
                <a:gd name="connsiteX21" fmla="*/ 486918 w 1739455"/>
                <a:gd name="connsiteY21" fmla="*/ 682847 h 1600200"/>
                <a:gd name="connsiteX22" fmla="*/ 486918 w 1739455"/>
                <a:gd name="connsiteY22" fmla="*/ 682847 h 1600200"/>
                <a:gd name="connsiteX23" fmla="*/ 509206 w 1739455"/>
                <a:gd name="connsiteY23" fmla="*/ 718852 h 1600200"/>
                <a:gd name="connsiteX24" fmla="*/ 509206 w 1739455"/>
                <a:gd name="connsiteY24" fmla="*/ 718852 h 1600200"/>
                <a:gd name="connsiteX25" fmla="*/ 510350 w 1739455"/>
                <a:gd name="connsiteY25" fmla="*/ 719709 h 1600200"/>
                <a:gd name="connsiteX26" fmla="*/ 510350 w 1739455"/>
                <a:gd name="connsiteY26" fmla="*/ 719709 h 1600200"/>
                <a:gd name="connsiteX27" fmla="*/ 511493 w 1739455"/>
                <a:gd name="connsiteY27" fmla="*/ 720471 h 1600200"/>
                <a:gd name="connsiteX28" fmla="*/ 511493 w 1739455"/>
                <a:gd name="connsiteY28" fmla="*/ 720471 h 1600200"/>
                <a:gd name="connsiteX29" fmla="*/ 512636 w 1739455"/>
                <a:gd name="connsiteY29" fmla="*/ 721233 h 1600200"/>
                <a:gd name="connsiteX30" fmla="*/ 512636 w 1739455"/>
                <a:gd name="connsiteY30" fmla="*/ 721233 h 1600200"/>
                <a:gd name="connsiteX31" fmla="*/ 513779 w 1739455"/>
                <a:gd name="connsiteY31" fmla="*/ 721995 h 1600200"/>
                <a:gd name="connsiteX32" fmla="*/ 513779 w 1739455"/>
                <a:gd name="connsiteY32" fmla="*/ 721995 h 1600200"/>
                <a:gd name="connsiteX33" fmla="*/ 514350 w 1739455"/>
                <a:gd name="connsiteY33" fmla="*/ 722281 h 1600200"/>
                <a:gd name="connsiteX34" fmla="*/ 515684 w 1739455"/>
                <a:gd name="connsiteY34" fmla="*/ 723043 h 1600200"/>
                <a:gd name="connsiteX35" fmla="*/ 516255 w 1739455"/>
                <a:gd name="connsiteY35" fmla="*/ 723329 h 1600200"/>
                <a:gd name="connsiteX36" fmla="*/ 516255 w 1739455"/>
                <a:gd name="connsiteY36" fmla="*/ 723329 h 1600200"/>
                <a:gd name="connsiteX37" fmla="*/ 517493 w 1739455"/>
                <a:gd name="connsiteY37" fmla="*/ 723995 h 1600200"/>
                <a:gd name="connsiteX38" fmla="*/ 517493 w 1739455"/>
                <a:gd name="connsiteY38" fmla="*/ 723995 h 1600200"/>
                <a:gd name="connsiteX39" fmla="*/ 518731 w 1739455"/>
                <a:gd name="connsiteY39" fmla="*/ 724662 h 1600200"/>
                <a:gd name="connsiteX40" fmla="*/ 518731 w 1739455"/>
                <a:gd name="connsiteY40" fmla="*/ 724662 h 1600200"/>
                <a:gd name="connsiteX41" fmla="*/ 519970 w 1739455"/>
                <a:gd name="connsiteY41" fmla="*/ 725234 h 1600200"/>
                <a:gd name="connsiteX42" fmla="*/ 519970 w 1739455"/>
                <a:gd name="connsiteY42" fmla="*/ 725234 h 1600200"/>
                <a:gd name="connsiteX43" fmla="*/ 521208 w 1739455"/>
                <a:gd name="connsiteY43" fmla="*/ 725805 h 1600200"/>
                <a:gd name="connsiteX44" fmla="*/ 521208 w 1739455"/>
                <a:gd name="connsiteY44" fmla="*/ 725805 h 1600200"/>
                <a:gd name="connsiteX45" fmla="*/ 522542 w 1739455"/>
                <a:gd name="connsiteY45" fmla="*/ 726377 h 1600200"/>
                <a:gd name="connsiteX46" fmla="*/ 522542 w 1739455"/>
                <a:gd name="connsiteY46" fmla="*/ 726377 h 1600200"/>
                <a:gd name="connsiteX47" fmla="*/ 523875 w 1739455"/>
                <a:gd name="connsiteY47" fmla="*/ 726853 h 1600200"/>
                <a:gd name="connsiteX48" fmla="*/ 523875 w 1739455"/>
                <a:gd name="connsiteY48" fmla="*/ 726853 h 1600200"/>
                <a:gd name="connsiteX49" fmla="*/ 525209 w 1739455"/>
                <a:gd name="connsiteY49" fmla="*/ 727329 h 1600200"/>
                <a:gd name="connsiteX50" fmla="*/ 525209 w 1739455"/>
                <a:gd name="connsiteY50" fmla="*/ 727329 h 1600200"/>
                <a:gd name="connsiteX51" fmla="*/ 525494 w 1739455"/>
                <a:gd name="connsiteY51" fmla="*/ 727424 h 1600200"/>
                <a:gd name="connsiteX52" fmla="*/ 527590 w 1739455"/>
                <a:gd name="connsiteY52" fmla="*/ 728091 h 1600200"/>
                <a:gd name="connsiteX53" fmla="*/ 527876 w 1739455"/>
                <a:gd name="connsiteY53" fmla="*/ 728186 h 1600200"/>
                <a:gd name="connsiteX54" fmla="*/ 527876 w 1739455"/>
                <a:gd name="connsiteY54" fmla="*/ 728186 h 1600200"/>
                <a:gd name="connsiteX55" fmla="*/ 529209 w 1739455"/>
                <a:gd name="connsiteY55" fmla="*/ 728567 h 1600200"/>
                <a:gd name="connsiteX56" fmla="*/ 529209 w 1739455"/>
                <a:gd name="connsiteY56" fmla="*/ 728567 h 1600200"/>
                <a:gd name="connsiteX57" fmla="*/ 530543 w 1739455"/>
                <a:gd name="connsiteY57" fmla="*/ 728948 h 1600200"/>
                <a:gd name="connsiteX58" fmla="*/ 530543 w 1739455"/>
                <a:gd name="connsiteY58" fmla="*/ 728948 h 1600200"/>
                <a:gd name="connsiteX59" fmla="*/ 531971 w 1739455"/>
                <a:gd name="connsiteY59" fmla="*/ 729234 h 1600200"/>
                <a:gd name="connsiteX60" fmla="*/ 531971 w 1739455"/>
                <a:gd name="connsiteY60" fmla="*/ 729234 h 1600200"/>
                <a:gd name="connsiteX61" fmla="*/ 533400 w 1739455"/>
                <a:gd name="connsiteY61" fmla="*/ 729520 h 1600200"/>
                <a:gd name="connsiteX62" fmla="*/ 533400 w 1739455"/>
                <a:gd name="connsiteY62" fmla="*/ 729520 h 1600200"/>
                <a:gd name="connsiteX63" fmla="*/ 533686 w 1739455"/>
                <a:gd name="connsiteY63" fmla="*/ 729520 h 1600200"/>
                <a:gd name="connsiteX64" fmla="*/ 536067 w 1739455"/>
                <a:gd name="connsiteY64" fmla="*/ 729901 h 1600200"/>
                <a:gd name="connsiteX65" fmla="*/ 536353 w 1739455"/>
                <a:gd name="connsiteY65" fmla="*/ 729901 h 1600200"/>
                <a:gd name="connsiteX66" fmla="*/ 536353 w 1739455"/>
                <a:gd name="connsiteY66" fmla="*/ 729901 h 1600200"/>
                <a:gd name="connsiteX67" fmla="*/ 537781 w 1739455"/>
                <a:gd name="connsiteY67" fmla="*/ 730091 h 1600200"/>
                <a:gd name="connsiteX68" fmla="*/ 537781 w 1739455"/>
                <a:gd name="connsiteY68" fmla="*/ 730091 h 1600200"/>
                <a:gd name="connsiteX69" fmla="*/ 539210 w 1739455"/>
                <a:gd name="connsiteY69" fmla="*/ 730187 h 1600200"/>
                <a:gd name="connsiteX70" fmla="*/ 539210 w 1739455"/>
                <a:gd name="connsiteY70" fmla="*/ 730187 h 1600200"/>
                <a:gd name="connsiteX71" fmla="*/ 540639 w 1739455"/>
                <a:gd name="connsiteY71" fmla="*/ 730282 h 1600200"/>
                <a:gd name="connsiteX72" fmla="*/ 540639 w 1739455"/>
                <a:gd name="connsiteY72" fmla="*/ 730282 h 1600200"/>
                <a:gd name="connsiteX73" fmla="*/ 541115 w 1739455"/>
                <a:gd name="connsiteY73" fmla="*/ 730282 h 1600200"/>
                <a:gd name="connsiteX74" fmla="*/ 544259 w 1739455"/>
                <a:gd name="connsiteY74" fmla="*/ 730377 h 1600200"/>
                <a:gd name="connsiteX75" fmla="*/ 563594 w 1739455"/>
                <a:gd name="connsiteY75" fmla="*/ 730377 h 1600200"/>
                <a:gd name="connsiteX76" fmla="*/ 565880 w 1739455"/>
                <a:gd name="connsiteY76" fmla="*/ 730377 h 1600200"/>
                <a:gd name="connsiteX77" fmla="*/ 646843 w 1739455"/>
                <a:gd name="connsiteY77" fmla="*/ 811339 h 1600200"/>
                <a:gd name="connsiteX78" fmla="*/ 646843 w 1739455"/>
                <a:gd name="connsiteY78" fmla="*/ 814864 h 1600200"/>
                <a:gd name="connsiteX79" fmla="*/ 646843 w 1739455"/>
                <a:gd name="connsiteY79" fmla="*/ 816388 h 1600200"/>
                <a:gd name="connsiteX80" fmla="*/ 646843 w 1739455"/>
                <a:gd name="connsiteY80" fmla="*/ 816388 h 1600200"/>
                <a:gd name="connsiteX81" fmla="*/ 646938 w 1739455"/>
                <a:gd name="connsiteY81" fmla="*/ 817817 h 1600200"/>
                <a:gd name="connsiteX82" fmla="*/ 646938 w 1739455"/>
                <a:gd name="connsiteY82" fmla="*/ 817817 h 1600200"/>
                <a:gd name="connsiteX83" fmla="*/ 647033 w 1739455"/>
                <a:gd name="connsiteY83" fmla="*/ 819245 h 1600200"/>
                <a:gd name="connsiteX84" fmla="*/ 647033 w 1739455"/>
                <a:gd name="connsiteY84" fmla="*/ 819245 h 1600200"/>
                <a:gd name="connsiteX85" fmla="*/ 647129 w 1739455"/>
                <a:gd name="connsiteY85" fmla="*/ 820674 h 1600200"/>
                <a:gd name="connsiteX86" fmla="*/ 647129 w 1739455"/>
                <a:gd name="connsiteY86" fmla="*/ 820674 h 1600200"/>
                <a:gd name="connsiteX87" fmla="*/ 647319 w 1739455"/>
                <a:gd name="connsiteY87" fmla="*/ 822103 h 1600200"/>
                <a:gd name="connsiteX88" fmla="*/ 647319 w 1739455"/>
                <a:gd name="connsiteY88" fmla="*/ 822103 h 1600200"/>
                <a:gd name="connsiteX89" fmla="*/ 647510 w 1739455"/>
                <a:gd name="connsiteY89" fmla="*/ 823531 h 1600200"/>
                <a:gd name="connsiteX90" fmla="*/ 647510 w 1739455"/>
                <a:gd name="connsiteY90" fmla="*/ 823531 h 1600200"/>
                <a:gd name="connsiteX91" fmla="*/ 647795 w 1739455"/>
                <a:gd name="connsiteY91" fmla="*/ 824960 h 1600200"/>
                <a:gd name="connsiteX92" fmla="*/ 647795 w 1739455"/>
                <a:gd name="connsiteY92" fmla="*/ 824960 h 1600200"/>
                <a:gd name="connsiteX93" fmla="*/ 648081 w 1739455"/>
                <a:gd name="connsiteY93" fmla="*/ 826389 h 1600200"/>
                <a:gd name="connsiteX94" fmla="*/ 648081 w 1739455"/>
                <a:gd name="connsiteY94" fmla="*/ 826389 h 1600200"/>
                <a:gd name="connsiteX95" fmla="*/ 648367 w 1739455"/>
                <a:gd name="connsiteY95" fmla="*/ 827818 h 1600200"/>
                <a:gd name="connsiteX96" fmla="*/ 648367 w 1739455"/>
                <a:gd name="connsiteY96" fmla="*/ 827818 h 1600200"/>
                <a:gd name="connsiteX97" fmla="*/ 648748 w 1739455"/>
                <a:gd name="connsiteY97" fmla="*/ 829247 h 1600200"/>
                <a:gd name="connsiteX98" fmla="*/ 648748 w 1739455"/>
                <a:gd name="connsiteY98" fmla="*/ 829247 h 1600200"/>
                <a:gd name="connsiteX99" fmla="*/ 700088 w 1739455"/>
                <a:gd name="connsiteY99" fmla="*/ 872300 h 1600200"/>
                <a:gd name="connsiteX100" fmla="*/ 700088 w 1739455"/>
                <a:gd name="connsiteY100" fmla="*/ 872300 h 1600200"/>
                <a:gd name="connsiteX101" fmla="*/ 701516 w 1739455"/>
                <a:gd name="connsiteY101" fmla="*/ 872395 h 1600200"/>
                <a:gd name="connsiteX102" fmla="*/ 701516 w 1739455"/>
                <a:gd name="connsiteY102" fmla="*/ 872395 h 1600200"/>
                <a:gd name="connsiteX103" fmla="*/ 701993 w 1739455"/>
                <a:gd name="connsiteY103" fmla="*/ 872395 h 1600200"/>
                <a:gd name="connsiteX104" fmla="*/ 705136 w 1739455"/>
                <a:gd name="connsiteY104" fmla="*/ 872490 h 1600200"/>
                <a:gd name="connsiteX105" fmla="*/ 712565 w 1739455"/>
                <a:gd name="connsiteY105" fmla="*/ 872490 h 1600200"/>
                <a:gd name="connsiteX106" fmla="*/ 793528 w 1739455"/>
                <a:gd name="connsiteY106" fmla="*/ 953453 h 1600200"/>
                <a:gd name="connsiteX107" fmla="*/ 793528 w 1739455"/>
                <a:gd name="connsiteY107" fmla="*/ 956977 h 1600200"/>
                <a:gd name="connsiteX108" fmla="*/ 793528 w 1739455"/>
                <a:gd name="connsiteY108" fmla="*/ 958501 h 1600200"/>
                <a:gd name="connsiteX109" fmla="*/ 793528 w 1739455"/>
                <a:gd name="connsiteY109" fmla="*/ 958501 h 1600200"/>
                <a:gd name="connsiteX110" fmla="*/ 793623 w 1739455"/>
                <a:gd name="connsiteY110" fmla="*/ 959930 h 1600200"/>
                <a:gd name="connsiteX111" fmla="*/ 793623 w 1739455"/>
                <a:gd name="connsiteY111" fmla="*/ 959930 h 1600200"/>
                <a:gd name="connsiteX112" fmla="*/ 793718 w 1739455"/>
                <a:gd name="connsiteY112" fmla="*/ 961358 h 1600200"/>
                <a:gd name="connsiteX113" fmla="*/ 793718 w 1739455"/>
                <a:gd name="connsiteY113" fmla="*/ 961358 h 1600200"/>
                <a:gd name="connsiteX114" fmla="*/ 793813 w 1739455"/>
                <a:gd name="connsiteY114" fmla="*/ 962787 h 1600200"/>
                <a:gd name="connsiteX115" fmla="*/ 793813 w 1739455"/>
                <a:gd name="connsiteY115" fmla="*/ 962787 h 1600200"/>
                <a:gd name="connsiteX116" fmla="*/ 794004 w 1739455"/>
                <a:gd name="connsiteY116" fmla="*/ 964216 h 1600200"/>
                <a:gd name="connsiteX117" fmla="*/ 794004 w 1739455"/>
                <a:gd name="connsiteY117" fmla="*/ 964216 h 1600200"/>
                <a:gd name="connsiteX118" fmla="*/ 794195 w 1739455"/>
                <a:gd name="connsiteY118" fmla="*/ 965645 h 1600200"/>
                <a:gd name="connsiteX119" fmla="*/ 794195 w 1739455"/>
                <a:gd name="connsiteY119" fmla="*/ 965645 h 1600200"/>
                <a:gd name="connsiteX120" fmla="*/ 823151 w 1739455"/>
                <a:gd name="connsiteY120" fmla="*/ 1007269 h 1600200"/>
                <a:gd name="connsiteX121" fmla="*/ 823722 w 1739455"/>
                <a:gd name="connsiteY121" fmla="*/ 1007555 h 1600200"/>
                <a:gd name="connsiteX122" fmla="*/ 823722 w 1739455"/>
                <a:gd name="connsiteY122" fmla="*/ 1007555 h 1600200"/>
                <a:gd name="connsiteX123" fmla="*/ 824960 w 1739455"/>
                <a:gd name="connsiteY123" fmla="*/ 1008221 h 1600200"/>
                <a:gd name="connsiteX124" fmla="*/ 824960 w 1739455"/>
                <a:gd name="connsiteY124" fmla="*/ 1008221 h 1600200"/>
                <a:gd name="connsiteX125" fmla="*/ 826198 w 1739455"/>
                <a:gd name="connsiteY125" fmla="*/ 1008888 h 1600200"/>
                <a:gd name="connsiteX126" fmla="*/ 826198 w 1739455"/>
                <a:gd name="connsiteY126" fmla="*/ 1008888 h 1600200"/>
                <a:gd name="connsiteX127" fmla="*/ 827437 w 1739455"/>
                <a:gd name="connsiteY127" fmla="*/ 1009460 h 1600200"/>
                <a:gd name="connsiteX128" fmla="*/ 827437 w 1739455"/>
                <a:gd name="connsiteY128" fmla="*/ 1009460 h 1600200"/>
                <a:gd name="connsiteX129" fmla="*/ 828675 w 1739455"/>
                <a:gd name="connsiteY129" fmla="*/ 1010031 h 1600200"/>
                <a:gd name="connsiteX130" fmla="*/ 828675 w 1739455"/>
                <a:gd name="connsiteY130" fmla="*/ 1010031 h 1600200"/>
                <a:gd name="connsiteX131" fmla="*/ 830009 w 1739455"/>
                <a:gd name="connsiteY131" fmla="*/ 1010603 h 1600200"/>
                <a:gd name="connsiteX132" fmla="*/ 830009 w 1739455"/>
                <a:gd name="connsiteY132" fmla="*/ 1010603 h 1600200"/>
                <a:gd name="connsiteX133" fmla="*/ 831342 w 1739455"/>
                <a:gd name="connsiteY133" fmla="*/ 1011079 h 1600200"/>
                <a:gd name="connsiteX134" fmla="*/ 831342 w 1739455"/>
                <a:gd name="connsiteY134" fmla="*/ 1011079 h 1600200"/>
                <a:gd name="connsiteX135" fmla="*/ 832676 w 1739455"/>
                <a:gd name="connsiteY135" fmla="*/ 1011555 h 1600200"/>
                <a:gd name="connsiteX136" fmla="*/ 832676 w 1739455"/>
                <a:gd name="connsiteY136" fmla="*/ 1011555 h 1600200"/>
                <a:gd name="connsiteX137" fmla="*/ 832961 w 1739455"/>
                <a:gd name="connsiteY137" fmla="*/ 1011650 h 1600200"/>
                <a:gd name="connsiteX138" fmla="*/ 835057 w 1739455"/>
                <a:gd name="connsiteY138" fmla="*/ 1012317 h 1600200"/>
                <a:gd name="connsiteX139" fmla="*/ 835343 w 1739455"/>
                <a:gd name="connsiteY139" fmla="*/ 1012412 h 1600200"/>
                <a:gd name="connsiteX140" fmla="*/ 835343 w 1739455"/>
                <a:gd name="connsiteY140" fmla="*/ 1012412 h 1600200"/>
                <a:gd name="connsiteX141" fmla="*/ 836676 w 1739455"/>
                <a:gd name="connsiteY141" fmla="*/ 1012793 h 1600200"/>
                <a:gd name="connsiteX142" fmla="*/ 836676 w 1739455"/>
                <a:gd name="connsiteY142" fmla="*/ 1012793 h 1600200"/>
                <a:gd name="connsiteX143" fmla="*/ 838010 w 1739455"/>
                <a:gd name="connsiteY143" fmla="*/ 1013174 h 1600200"/>
                <a:gd name="connsiteX144" fmla="*/ 838010 w 1739455"/>
                <a:gd name="connsiteY144" fmla="*/ 1013174 h 1600200"/>
                <a:gd name="connsiteX145" fmla="*/ 839438 w 1739455"/>
                <a:gd name="connsiteY145" fmla="*/ 1013460 h 1600200"/>
                <a:gd name="connsiteX146" fmla="*/ 839438 w 1739455"/>
                <a:gd name="connsiteY146" fmla="*/ 1013460 h 1600200"/>
                <a:gd name="connsiteX147" fmla="*/ 840867 w 1739455"/>
                <a:gd name="connsiteY147" fmla="*/ 1013746 h 1600200"/>
                <a:gd name="connsiteX148" fmla="*/ 840867 w 1739455"/>
                <a:gd name="connsiteY148" fmla="*/ 1013746 h 1600200"/>
                <a:gd name="connsiteX149" fmla="*/ 841153 w 1739455"/>
                <a:gd name="connsiteY149" fmla="*/ 1013746 h 1600200"/>
                <a:gd name="connsiteX150" fmla="*/ 843534 w 1739455"/>
                <a:gd name="connsiteY150" fmla="*/ 1014127 h 1600200"/>
                <a:gd name="connsiteX151" fmla="*/ 843820 w 1739455"/>
                <a:gd name="connsiteY151" fmla="*/ 1014127 h 1600200"/>
                <a:gd name="connsiteX152" fmla="*/ 843820 w 1739455"/>
                <a:gd name="connsiteY152" fmla="*/ 1014127 h 1600200"/>
                <a:gd name="connsiteX153" fmla="*/ 845248 w 1739455"/>
                <a:gd name="connsiteY153" fmla="*/ 1014317 h 1600200"/>
                <a:gd name="connsiteX154" fmla="*/ 845248 w 1739455"/>
                <a:gd name="connsiteY154" fmla="*/ 1014317 h 1600200"/>
                <a:gd name="connsiteX155" fmla="*/ 846677 w 1739455"/>
                <a:gd name="connsiteY155" fmla="*/ 1014413 h 1600200"/>
                <a:gd name="connsiteX156" fmla="*/ 846677 w 1739455"/>
                <a:gd name="connsiteY156" fmla="*/ 1014413 h 1600200"/>
                <a:gd name="connsiteX157" fmla="*/ 848106 w 1739455"/>
                <a:gd name="connsiteY157" fmla="*/ 1014508 h 1600200"/>
                <a:gd name="connsiteX158" fmla="*/ 848106 w 1739455"/>
                <a:gd name="connsiteY158" fmla="*/ 1014508 h 1600200"/>
                <a:gd name="connsiteX159" fmla="*/ 848582 w 1739455"/>
                <a:gd name="connsiteY159" fmla="*/ 1014508 h 1600200"/>
                <a:gd name="connsiteX160" fmla="*/ 851726 w 1739455"/>
                <a:gd name="connsiteY160" fmla="*/ 1014603 h 1600200"/>
                <a:gd name="connsiteX161" fmla="*/ 871156 w 1739455"/>
                <a:gd name="connsiteY161" fmla="*/ 1014603 h 1600200"/>
                <a:gd name="connsiteX162" fmla="*/ 878110 w 1739455"/>
                <a:gd name="connsiteY162" fmla="*/ 1014603 h 1600200"/>
                <a:gd name="connsiteX163" fmla="*/ 959072 w 1739455"/>
                <a:gd name="connsiteY163" fmla="*/ 1095566 h 1600200"/>
                <a:gd name="connsiteX164" fmla="*/ 959072 w 1739455"/>
                <a:gd name="connsiteY164" fmla="*/ 1105376 h 1600200"/>
                <a:gd name="connsiteX165" fmla="*/ 959072 w 1739455"/>
                <a:gd name="connsiteY165" fmla="*/ 1106805 h 1600200"/>
                <a:gd name="connsiteX166" fmla="*/ 959072 w 1739455"/>
                <a:gd name="connsiteY166" fmla="*/ 1106805 h 1600200"/>
                <a:gd name="connsiteX167" fmla="*/ 959168 w 1739455"/>
                <a:gd name="connsiteY167" fmla="*/ 1108234 h 1600200"/>
                <a:gd name="connsiteX168" fmla="*/ 959168 w 1739455"/>
                <a:gd name="connsiteY168" fmla="*/ 1108234 h 1600200"/>
                <a:gd name="connsiteX169" fmla="*/ 959263 w 1739455"/>
                <a:gd name="connsiteY169" fmla="*/ 1109663 h 1600200"/>
                <a:gd name="connsiteX170" fmla="*/ 959263 w 1739455"/>
                <a:gd name="connsiteY170" fmla="*/ 1109663 h 1600200"/>
                <a:gd name="connsiteX171" fmla="*/ 959358 w 1739455"/>
                <a:gd name="connsiteY171" fmla="*/ 1111091 h 1600200"/>
                <a:gd name="connsiteX172" fmla="*/ 959358 w 1739455"/>
                <a:gd name="connsiteY172" fmla="*/ 1111091 h 1600200"/>
                <a:gd name="connsiteX173" fmla="*/ 959548 w 1739455"/>
                <a:gd name="connsiteY173" fmla="*/ 1112520 h 1600200"/>
                <a:gd name="connsiteX174" fmla="*/ 959548 w 1739455"/>
                <a:gd name="connsiteY174" fmla="*/ 1112520 h 1600200"/>
                <a:gd name="connsiteX175" fmla="*/ 959739 w 1739455"/>
                <a:gd name="connsiteY175" fmla="*/ 1113949 h 1600200"/>
                <a:gd name="connsiteX176" fmla="*/ 959739 w 1739455"/>
                <a:gd name="connsiteY176" fmla="*/ 1113949 h 1600200"/>
                <a:gd name="connsiteX177" fmla="*/ 959930 w 1739455"/>
                <a:gd name="connsiteY177" fmla="*/ 1115378 h 1600200"/>
                <a:gd name="connsiteX178" fmla="*/ 959930 w 1739455"/>
                <a:gd name="connsiteY178" fmla="*/ 1115378 h 1600200"/>
                <a:gd name="connsiteX179" fmla="*/ 960215 w 1739455"/>
                <a:gd name="connsiteY179" fmla="*/ 1116806 h 1600200"/>
                <a:gd name="connsiteX180" fmla="*/ 960215 w 1739455"/>
                <a:gd name="connsiteY180" fmla="*/ 1116806 h 1600200"/>
                <a:gd name="connsiteX181" fmla="*/ 960501 w 1739455"/>
                <a:gd name="connsiteY181" fmla="*/ 1118235 h 1600200"/>
                <a:gd name="connsiteX182" fmla="*/ 960501 w 1739455"/>
                <a:gd name="connsiteY182" fmla="*/ 1118235 h 1600200"/>
                <a:gd name="connsiteX183" fmla="*/ 960882 w 1739455"/>
                <a:gd name="connsiteY183" fmla="*/ 1119664 h 1600200"/>
                <a:gd name="connsiteX184" fmla="*/ 960882 w 1739455"/>
                <a:gd name="connsiteY184" fmla="*/ 1119664 h 1600200"/>
                <a:gd name="connsiteX185" fmla="*/ 961263 w 1739455"/>
                <a:gd name="connsiteY185" fmla="*/ 1120997 h 1600200"/>
                <a:gd name="connsiteX186" fmla="*/ 961263 w 1739455"/>
                <a:gd name="connsiteY186" fmla="*/ 1120997 h 1600200"/>
                <a:gd name="connsiteX187" fmla="*/ 961644 w 1739455"/>
                <a:gd name="connsiteY187" fmla="*/ 1122331 h 1600200"/>
                <a:gd name="connsiteX188" fmla="*/ 961644 w 1739455"/>
                <a:gd name="connsiteY188" fmla="*/ 1122331 h 1600200"/>
                <a:gd name="connsiteX189" fmla="*/ 962120 w 1739455"/>
                <a:gd name="connsiteY189" fmla="*/ 1123664 h 1600200"/>
                <a:gd name="connsiteX190" fmla="*/ 962120 w 1739455"/>
                <a:gd name="connsiteY190" fmla="*/ 1123664 h 1600200"/>
                <a:gd name="connsiteX191" fmla="*/ 962597 w 1739455"/>
                <a:gd name="connsiteY191" fmla="*/ 1124998 h 1600200"/>
                <a:gd name="connsiteX192" fmla="*/ 962597 w 1739455"/>
                <a:gd name="connsiteY192" fmla="*/ 1124998 h 1600200"/>
                <a:gd name="connsiteX193" fmla="*/ 963073 w 1739455"/>
                <a:gd name="connsiteY193" fmla="*/ 1126331 h 1600200"/>
                <a:gd name="connsiteX194" fmla="*/ 963073 w 1739455"/>
                <a:gd name="connsiteY194" fmla="*/ 1126331 h 1600200"/>
                <a:gd name="connsiteX195" fmla="*/ 963644 w 1739455"/>
                <a:gd name="connsiteY195" fmla="*/ 1127665 h 1600200"/>
                <a:gd name="connsiteX196" fmla="*/ 963644 w 1739455"/>
                <a:gd name="connsiteY196" fmla="*/ 1127665 h 1600200"/>
                <a:gd name="connsiteX197" fmla="*/ 964216 w 1739455"/>
                <a:gd name="connsiteY197" fmla="*/ 1128903 h 1600200"/>
                <a:gd name="connsiteX198" fmla="*/ 964216 w 1739455"/>
                <a:gd name="connsiteY198" fmla="*/ 1128903 h 1600200"/>
                <a:gd name="connsiteX199" fmla="*/ 964787 w 1739455"/>
                <a:gd name="connsiteY199" fmla="*/ 1130141 h 1600200"/>
                <a:gd name="connsiteX200" fmla="*/ 964787 w 1739455"/>
                <a:gd name="connsiteY200" fmla="*/ 1130141 h 1600200"/>
                <a:gd name="connsiteX201" fmla="*/ 965454 w 1739455"/>
                <a:gd name="connsiteY201" fmla="*/ 1131380 h 1600200"/>
                <a:gd name="connsiteX202" fmla="*/ 965454 w 1739455"/>
                <a:gd name="connsiteY202" fmla="*/ 1131380 h 1600200"/>
                <a:gd name="connsiteX203" fmla="*/ 966121 w 1739455"/>
                <a:gd name="connsiteY203" fmla="*/ 1132618 h 1600200"/>
                <a:gd name="connsiteX204" fmla="*/ 966121 w 1739455"/>
                <a:gd name="connsiteY204" fmla="*/ 1132618 h 1600200"/>
                <a:gd name="connsiteX205" fmla="*/ 966788 w 1739455"/>
                <a:gd name="connsiteY205" fmla="*/ 1133856 h 1600200"/>
                <a:gd name="connsiteX206" fmla="*/ 966788 w 1739455"/>
                <a:gd name="connsiteY206" fmla="*/ 1133856 h 1600200"/>
                <a:gd name="connsiteX207" fmla="*/ 967454 w 1739455"/>
                <a:gd name="connsiteY207" fmla="*/ 1135094 h 1600200"/>
                <a:gd name="connsiteX208" fmla="*/ 967454 w 1739455"/>
                <a:gd name="connsiteY208" fmla="*/ 1135094 h 1600200"/>
                <a:gd name="connsiteX209" fmla="*/ 968216 w 1739455"/>
                <a:gd name="connsiteY209" fmla="*/ 1136237 h 1600200"/>
                <a:gd name="connsiteX210" fmla="*/ 968216 w 1739455"/>
                <a:gd name="connsiteY210" fmla="*/ 1136237 h 1600200"/>
                <a:gd name="connsiteX211" fmla="*/ 968978 w 1739455"/>
                <a:gd name="connsiteY211" fmla="*/ 1137380 h 1600200"/>
                <a:gd name="connsiteX212" fmla="*/ 968978 w 1739455"/>
                <a:gd name="connsiteY212" fmla="*/ 1137380 h 1600200"/>
                <a:gd name="connsiteX213" fmla="*/ 969740 w 1739455"/>
                <a:gd name="connsiteY213" fmla="*/ 1138523 h 1600200"/>
                <a:gd name="connsiteX214" fmla="*/ 969740 w 1739455"/>
                <a:gd name="connsiteY214" fmla="*/ 1138523 h 1600200"/>
                <a:gd name="connsiteX215" fmla="*/ 970597 w 1739455"/>
                <a:gd name="connsiteY215" fmla="*/ 1139666 h 1600200"/>
                <a:gd name="connsiteX216" fmla="*/ 970597 w 1739455"/>
                <a:gd name="connsiteY216" fmla="*/ 1139666 h 1600200"/>
                <a:gd name="connsiteX217" fmla="*/ 971455 w 1739455"/>
                <a:gd name="connsiteY217" fmla="*/ 1140809 h 1600200"/>
                <a:gd name="connsiteX218" fmla="*/ 971455 w 1739455"/>
                <a:gd name="connsiteY218" fmla="*/ 1140809 h 1600200"/>
                <a:gd name="connsiteX219" fmla="*/ 972312 w 1739455"/>
                <a:gd name="connsiteY219" fmla="*/ 1141857 h 1600200"/>
                <a:gd name="connsiteX220" fmla="*/ 972312 w 1739455"/>
                <a:gd name="connsiteY220" fmla="*/ 1141857 h 1600200"/>
                <a:gd name="connsiteX221" fmla="*/ 973169 w 1739455"/>
                <a:gd name="connsiteY221" fmla="*/ 1142905 h 1600200"/>
                <a:gd name="connsiteX222" fmla="*/ 973169 w 1739455"/>
                <a:gd name="connsiteY222" fmla="*/ 1142905 h 1600200"/>
                <a:gd name="connsiteX223" fmla="*/ 974122 w 1739455"/>
                <a:gd name="connsiteY223" fmla="*/ 1143953 h 1600200"/>
                <a:gd name="connsiteX224" fmla="*/ 974122 w 1739455"/>
                <a:gd name="connsiteY224" fmla="*/ 1143953 h 1600200"/>
                <a:gd name="connsiteX225" fmla="*/ 975074 w 1739455"/>
                <a:gd name="connsiteY225" fmla="*/ 1145000 h 1600200"/>
                <a:gd name="connsiteX226" fmla="*/ 975074 w 1739455"/>
                <a:gd name="connsiteY226" fmla="*/ 1145000 h 1600200"/>
                <a:gd name="connsiteX227" fmla="*/ 976027 w 1739455"/>
                <a:gd name="connsiteY227" fmla="*/ 1145953 h 1600200"/>
                <a:gd name="connsiteX228" fmla="*/ 976027 w 1739455"/>
                <a:gd name="connsiteY228" fmla="*/ 1145953 h 1600200"/>
                <a:gd name="connsiteX229" fmla="*/ 976979 w 1739455"/>
                <a:gd name="connsiteY229" fmla="*/ 1146905 h 1600200"/>
                <a:gd name="connsiteX230" fmla="*/ 976979 w 1739455"/>
                <a:gd name="connsiteY230" fmla="*/ 1146905 h 1600200"/>
                <a:gd name="connsiteX231" fmla="*/ 978027 w 1739455"/>
                <a:gd name="connsiteY231" fmla="*/ 1147858 h 1600200"/>
                <a:gd name="connsiteX232" fmla="*/ 978027 w 1739455"/>
                <a:gd name="connsiteY232" fmla="*/ 1147858 h 1600200"/>
                <a:gd name="connsiteX233" fmla="*/ 979075 w 1739455"/>
                <a:gd name="connsiteY233" fmla="*/ 1148810 h 1600200"/>
                <a:gd name="connsiteX234" fmla="*/ 979075 w 1739455"/>
                <a:gd name="connsiteY234" fmla="*/ 1148810 h 1600200"/>
                <a:gd name="connsiteX235" fmla="*/ 980122 w 1739455"/>
                <a:gd name="connsiteY235" fmla="*/ 1149668 h 1600200"/>
                <a:gd name="connsiteX236" fmla="*/ 980122 w 1739455"/>
                <a:gd name="connsiteY236" fmla="*/ 1149668 h 1600200"/>
                <a:gd name="connsiteX237" fmla="*/ 981170 w 1739455"/>
                <a:gd name="connsiteY237" fmla="*/ 1150525 h 1600200"/>
                <a:gd name="connsiteX238" fmla="*/ 981170 w 1739455"/>
                <a:gd name="connsiteY238" fmla="*/ 1150525 h 1600200"/>
                <a:gd name="connsiteX239" fmla="*/ 982218 w 1739455"/>
                <a:gd name="connsiteY239" fmla="*/ 1151382 h 1600200"/>
                <a:gd name="connsiteX240" fmla="*/ 982218 w 1739455"/>
                <a:gd name="connsiteY240" fmla="*/ 1151382 h 1600200"/>
                <a:gd name="connsiteX241" fmla="*/ 983361 w 1739455"/>
                <a:gd name="connsiteY241" fmla="*/ 1152239 h 1600200"/>
                <a:gd name="connsiteX242" fmla="*/ 983361 w 1739455"/>
                <a:gd name="connsiteY242" fmla="*/ 1152239 h 1600200"/>
                <a:gd name="connsiteX243" fmla="*/ 984504 w 1739455"/>
                <a:gd name="connsiteY243" fmla="*/ 1153001 h 1600200"/>
                <a:gd name="connsiteX244" fmla="*/ 984504 w 1739455"/>
                <a:gd name="connsiteY244" fmla="*/ 1153001 h 1600200"/>
                <a:gd name="connsiteX245" fmla="*/ 985647 w 1739455"/>
                <a:gd name="connsiteY245" fmla="*/ 1153763 h 1600200"/>
                <a:gd name="connsiteX246" fmla="*/ 985647 w 1739455"/>
                <a:gd name="connsiteY246" fmla="*/ 1153763 h 1600200"/>
                <a:gd name="connsiteX247" fmla="*/ 986790 w 1739455"/>
                <a:gd name="connsiteY247" fmla="*/ 1154525 h 1600200"/>
                <a:gd name="connsiteX248" fmla="*/ 986790 w 1739455"/>
                <a:gd name="connsiteY248" fmla="*/ 1154525 h 1600200"/>
                <a:gd name="connsiteX249" fmla="*/ 988028 w 1739455"/>
                <a:gd name="connsiteY249" fmla="*/ 1155192 h 1600200"/>
                <a:gd name="connsiteX250" fmla="*/ 988028 w 1739455"/>
                <a:gd name="connsiteY250" fmla="*/ 1155192 h 1600200"/>
                <a:gd name="connsiteX251" fmla="*/ 989267 w 1739455"/>
                <a:gd name="connsiteY251" fmla="*/ 1155859 h 1600200"/>
                <a:gd name="connsiteX252" fmla="*/ 989267 w 1739455"/>
                <a:gd name="connsiteY252" fmla="*/ 1155859 h 1600200"/>
                <a:gd name="connsiteX253" fmla="*/ 990505 w 1739455"/>
                <a:gd name="connsiteY253" fmla="*/ 1156526 h 1600200"/>
                <a:gd name="connsiteX254" fmla="*/ 990505 w 1739455"/>
                <a:gd name="connsiteY254" fmla="*/ 1156526 h 1600200"/>
                <a:gd name="connsiteX255" fmla="*/ 991743 w 1739455"/>
                <a:gd name="connsiteY255" fmla="*/ 1157192 h 1600200"/>
                <a:gd name="connsiteX256" fmla="*/ 991743 w 1739455"/>
                <a:gd name="connsiteY256" fmla="*/ 1157192 h 1600200"/>
                <a:gd name="connsiteX257" fmla="*/ 992981 w 1739455"/>
                <a:gd name="connsiteY257" fmla="*/ 1157764 h 1600200"/>
                <a:gd name="connsiteX258" fmla="*/ 992981 w 1739455"/>
                <a:gd name="connsiteY258" fmla="*/ 1157764 h 1600200"/>
                <a:gd name="connsiteX259" fmla="*/ 994220 w 1739455"/>
                <a:gd name="connsiteY259" fmla="*/ 1158335 h 1600200"/>
                <a:gd name="connsiteX260" fmla="*/ 994220 w 1739455"/>
                <a:gd name="connsiteY260" fmla="*/ 1158335 h 1600200"/>
                <a:gd name="connsiteX261" fmla="*/ 995553 w 1739455"/>
                <a:gd name="connsiteY261" fmla="*/ 1158907 h 1600200"/>
                <a:gd name="connsiteX262" fmla="*/ 995553 w 1739455"/>
                <a:gd name="connsiteY262" fmla="*/ 1158907 h 1600200"/>
                <a:gd name="connsiteX263" fmla="*/ 996887 w 1739455"/>
                <a:gd name="connsiteY263" fmla="*/ 1159383 h 1600200"/>
                <a:gd name="connsiteX264" fmla="*/ 996887 w 1739455"/>
                <a:gd name="connsiteY264" fmla="*/ 1159383 h 1600200"/>
                <a:gd name="connsiteX265" fmla="*/ 998220 w 1739455"/>
                <a:gd name="connsiteY265" fmla="*/ 1159859 h 1600200"/>
                <a:gd name="connsiteX266" fmla="*/ 998220 w 1739455"/>
                <a:gd name="connsiteY266" fmla="*/ 1159859 h 1600200"/>
                <a:gd name="connsiteX267" fmla="*/ 999554 w 1739455"/>
                <a:gd name="connsiteY267" fmla="*/ 1160336 h 1600200"/>
                <a:gd name="connsiteX268" fmla="*/ 999554 w 1739455"/>
                <a:gd name="connsiteY268" fmla="*/ 1160336 h 1600200"/>
                <a:gd name="connsiteX269" fmla="*/ 1000887 w 1739455"/>
                <a:gd name="connsiteY269" fmla="*/ 1160717 h 1600200"/>
                <a:gd name="connsiteX270" fmla="*/ 1000887 w 1739455"/>
                <a:gd name="connsiteY270" fmla="*/ 1160717 h 1600200"/>
                <a:gd name="connsiteX271" fmla="*/ 1002221 w 1739455"/>
                <a:gd name="connsiteY271" fmla="*/ 1161098 h 1600200"/>
                <a:gd name="connsiteX272" fmla="*/ 1002221 w 1739455"/>
                <a:gd name="connsiteY272" fmla="*/ 1161098 h 1600200"/>
                <a:gd name="connsiteX273" fmla="*/ 1003554 w 1739455"/>
                <a:gd name="connsiteY273" fmla="*/ 1161479 h 1600200"/>
                <a:gd name="connsiteX274" fmla="*/ 1003554 w 1739455"/>
                <a:gd name="connsiteY274" fmla="*/ 1161479 h 1600200"/>
                <a:gd name="connsiteX275" fmla="*/ 1004983 w 1739455"/>
                <a:gd name="connsiteY275" fmla="*/ 1161764 h 1600200"/>
                <a:gd name="connsiteX276" fmla="*/ 1004983 w 1739455"/>
                <a:gd name="connsiteY276" fmla="*/ 1161764 h 1600200"/>
                <a:gd name="connsiteX277" fmla="*/ 1006412 w 1739455"/>
                <a:gd name="connsiteY277" fmla="*/ 1162050 h 1600200"/>
                <a:gd name="connsiteX278" fmla="*/ 1006412 w 1739455"/>
                <a:gd name="connsiteY278" fmla="*/ 1162050 h 1600200"/>
                <a:gd name="connsiteX279" fmla="*/ 1007840 w 1739455"/>
                <a:gd name="connsiteY279" fmla="*/ 1162336 h 1600200"/>
                <a:gd name="connsiteX280" fmla="*/ 1007840 w 1739455"/>
                <a:gd name="connsiteY280" fmla="*/ 1162336 h 1600200"/>
                <a:gd name="connsiteX281" fmla="*/ 1009269 w 1739455"/>
                <a:gd name="connsiteY281" fmla="*/ 1162526 h 1600200"/>
                <a:gd name="connsiteX282" fmla="*/ 1009269 w 1739455"/>
                <a:gd name="connsiteY282" fmla="*/ 1162526 h 1600200"/>
                <a:gd name="connsiteX283" fmla="*/ 1010698 w 1739455"/>
                <a:gd name="connsiteY283" fmla="*/ 1162717 h 1600200"/>
                <a:gd name="connsiteX284" fmla="*/ 1010698 w 1739455"/>
                <a:gd name="connsiteY284" fmla="*/ 1162717 h 1600200"/>
                <a:gd name="connsiteX285" fmla="*/ 1012127 w 1739455"/>
                <a:gd name="connsiteY285" fmla="*/ 1162812 h 1600200"/>
                <a:gd name="connsiteX286" fmla="*/ 1012127 w 1739455"/>
                <a:gd name="connsiteY286" fmla="*/ 1162812 h 1600200"/>
                <a:gd name="connsiteX287" fmla="*/ 1013555 w 1739455"/>
                <a:gd name="connsiteY287" fmla="*/ 1162907 h 1600200"/>
                <a:gd name="connsiteX288" fmla="*/ 1013555 w 1739455"/>
                <a:gd name="connsiteY288" fmla="*/ 1162907 h 1600200"/>
                <a:gd name="connsiteX289" fmla="*/ 1014031 w 1739455"/>
                <a:gd name="connsiteY289" fmla="*/ 1162907 h 1600200"/>
                <a:gd name="connsiteX290" fmla="*/ 1017175 w 1739455"/>
                <a:gd name="connsiteY290" fmla="*/ 1163003 h 1600200"/>
                <a:gd name="connsiteX291" fmla="*/ 1047560 w 1739455"/>
                <a:gd name="connsiteY291" fmla="*/ 1163003 h 1600200"/>
                <a:gd name="connsiteX292" fmla="*/ 1199483 w 1739455"/>
                <a:gd name="connsiteY292" fmla="*/ 1163003 h 1600200"/>
                <a:gd name="connsiteX293" fmla="*/ 1280446 w 1739455"/>
                <a:gd name="connsiteY293" fmla="*/ 1243965 h 1600200"/>
                <a:gd name="connsiteX294" fmla="*/ 1280446 w 1739455"/>
                <a:gd name="connsiteY294" fmla="*/ 1375886 h 1600200"/>
                <a:gd name="connsiteX295" fmla="*/ 1280446 w 1739455"/>
                <a:gd name="connsiteY295" fmla="*/ 1539431 h 1600200"/>
                <a:gd name="connsiteX296" fmla="*/ 1280446 w 1739455"/>
                <a:gd name="connsiteY296" fmla="*/ 1542574 h 1600200"/>
                <a:gd name="connsiteX297" fmla="*/ 1338072 w 1739455"/>
                <a:gd name="connsiteY297" fmla="*/ 1600200 h 1600200"/>
                <a:gd name="connsiteX298" fmla="*/ 1358075 w 1739455"/>
                <a:gd name="connsiteY298" fmla="*/ 1600200 h 1600200"/>
                <a:gd name="connsiteX299" fmla="*/ 1415701 w 1739455"/>
                <a:gd name="connsiteY299" fmla="*/ 1542574 h 1600200"/>
                <a:gd name="connsiteX300" fmla="*/ 1415701 w 1739455"/>
                <a:gd name="connsiteY300" fmla="*/ 1534477 h 1600200"/>
                <a:gd name="connsiteX301" fmla="*/ 1496663 w 1739455"/>
                <a:gd name="connsiteY301" fmla="*/ 1453515 h 1600200"/>
                <a:gd name="connsiteX302" fmla="*/ 1527239 w 1739455"/>
                <a:gd name="connsiteY302" fmla="*/ 1453515 h 1600200"/>
                <a:gd name="connsiteX303" fmla="*/ 1584865 w 1739455"/>
                <a:gd name="connsiteY303" fmla="*/ 1395889 h 1600200"/>
                <a:gd name="connsiteX304" fmla="*/ 1584865 w 1739455"/>
                <a:gd name="connsiteY304" fmla="*/ 1375886 h 1600200"/>
                <a:gd name="connsiteX305" fmla="*/ 1546765 w 1739455"/>
                <a:gd name="connsiteY305" fmla="*/ 1321689 h 1600200"/>
                <a:gd name="connsiteX306" fmla="*/ 1477518 w 1739455"/>
                <a:gd name="connsiteY306" fmla="*/ 1318070 h 1600200"/>
                <a:gd name="connsiteX307" fmla="*/ 1429988 w 1739455"/>
                <a:gd name="connsiteY307" fmla="*/ 1231487 h 1600200"/>
                <a:gd name="connsiteX308" fmla="*/ 1498759 w 1739455"/>
                <a:gd name="connsiteY308" fmla="*/ 1164527 h 1600200"/>
                <a:gd name="connsiteX309" fmla="*/ 1681829 w 1739455"/>
                <a:gd name="connsiteY309" fmla="*/ 1164527 h 1600200"/>
                <a:gd name="connsiteX310" fmla="*/ 1739456 w 1739455"/>
                <a:gd name="connsiteY310" fmla="*/ 1106900 h 1600200"/>
                <a:gd name="connsiteX311" fmla="*/ 1739456 w 1739455"/>
                <a:gd name="connsiteY311" fmla="*/ 1086898 h 1600200"/>
                <a:gd name="connsiteX312" fmla="*/ 1681829 w 1739455"/>
                <a:gd name="connsiteY312" fmla="*/ 1029272 h 1600200"/>
                <a:gd name="connsiteX313" fmla="*/ 1498854 w 1739455"/>
                <a:gd name="connsiteY313" fmla="*/ 1029272 h 1600200"/>
                <a:gd name="connsiteX314" fmla="*/ 1417892 w 1739455"/>
                <a:gd name="connsiteY314" fmla="*/ 948309 h 1600200"/>
                <a:gd name="connsiteX315" fmla="*/ 1417892 w 1739455"/>
                <a:gd name="connsiteY315" fmla="*/ 942594 h 1600200"/>
                <a:gd name="connsiteX316" fmla="*/ 1360265 w 1739455"/>
                <a:gd name="connsiteY316" fmla="*/ 884968 h 1600200"/>
                <a:gd name="connsiteX317" fmla="*/ 1186148 w 1739455"/>
                <a:gd name="connsiteY317" fmla="*/ 884968 h 1600200"/>
                <a:gd name="connsiteX318" fmla="*/ 1105186 w 1739455"/>
                <a:gd name="connsiteY318" fmla="*/ 804005 h 1600200"/>
                <a:gd name="connsiteX319" fmla="*/ 1105186 w 1739455"/>
                <a:gd name="connsiteY319" fmla="*/ 646176 h 1600200"/>
                <a:gd name="connsiteX320" fmla="*/ 1097089 w 1739455"/>
                <a:gd name="connsiteY320" fmla="*/ 616839 h 1600200"/>
                <a:gd name="connsiteX321" fmla="*/ 1096423 w 1739455"/>
                <a:gd name="connsiteY321" fmla="*/ 615696 h 1600200"/>
                <a:gd name="connsiteX322" fmla="*/ 1046417 w 1739455"/>
                <a:gd name="connsiteY322" fmla="*/ 586550 h 1600200"/>
                <a:gd name="connsiteX323" fmla="*/ 1024128 w 1739455"/>
                <a:gd name="connsiteY323" fmla="*/ 586550 h 1600200"/>
                <a:gd name="connsiteX324" fmla="*/ 943165 w 1739455"/>
                <a:gd name="connsiteY324" fmla="*/ 505587 h 1600200"/>
                <a:gd name="connsiteX325" fmla="*/ 943165 w 1739455"/>
                <a:gd name="connsiteY325" fmla="*/ 505206 h 1600200"/>
                <a:gd name="connsiteX326" fmla="*/ 885539 w 1739455"/>
                <a:gd name="connsiteY326" fmla="*/ 446818 h 1600200"/>
                <a:gd name="connsiteX327" fmla="*/ 844772 w 1739455"/>
                <a:gd name="connsiteY327" fmla="*/ 445580 h 1600200"/>
                <a:gd name="connsiteX328" fmla="*/ 795242 w 1739455"/>
                <a:gd name="connsiteY328" fmla="*/ 388525 h 1600200"/>
                <a:gd name="connsiteX329" fmla="*/ 795242 w 1739455"/>
                <a:gd name="connsiteY329" fmla="*/ 368522 h 1600200"/>
                <a:gd name="connsiteX330" fmla="*/ 852869 w 1739455"/>
                <a:gd name="connsiteY330" fmla="*/ 310896 h 1600200"/>
                <a:gd name="connsiteX331" fmla="*/ 952119 w 1739455"/>
                <a:gd name="connsiteY331" fmla="*/ 310896 h 1600200"/>
                <a:gd name="connsiteX332" fmla="*/ 951167 w 1739455"/>
                <a:gd name="connsiteY332" fmla="*/ 57626 h 1600200"/>
                <a:gd name="connsiteX333" fmla="*/ 893540 w 1739455"/>
                <a:gd name="connsiteY333" fmla="*/ 0 h 1600200"/>
                <a:gd name="connsiteX334" fmla="*/ 214598 w 1739455"/>
                <a:gd name="connsiteY334" fmla="*/ 0 h 1600200"/>
                <a:gd name="connsiteX335" fmla="*/ 157353 w 1739455"/>
                <a:gd name="connsiteY335" fmla="*/ 51149 h 1600200"/>
                <a:gd name="connsiteX336" fmla="*/ 157353 w 1739455"/>
                <a:gd name="connsiteY336" fmla="*/ 93059 h 1600200"/>
                <a:gd name="connsiteX337" fmla="*/ 99727 w 1739455"/>
                <a:gd name="connsiteY337" fmla="*/ 150686 h 1600200"/>
                <a:gd name="connsiteX338" fmla="*/ 0 w 1739455"/>
                <a:gd name="connsiteY338" fmla="*/ 150686 h 1600200"/>
                <a:gd name="connsiteX339" fmla="*/ 476 w 1739455"/>
                <a:gd name="connsiteY339" fmla="*/ 514921 h 1600200"/>
                <a:gd name="connsiteX340" fmla="*/ 476 w 1739455"/>
                <a:gd name="connsiteY340" fmla="*/ 514921 h 1600200"/>
                <a:gd name="connsiteX341" fmla="*/ 959358 w 1739455"/>
                <a:gd name="connsiteY341" fmla="*/ 1105281 h 1600200"/>
                <a:gd name="connsiteX342" fmla="*/ 959358 w 1739455"/>
                <a:gd name="connsiteY342" fmla="*/ 1105281 h 1600200"/>
                <a:gd name="connsiteX343" fmla="*/ 959358 w 1739455"/>
                <a:gd name="connsiteY343" fmla="*/ 1105281 h 1600200"/>
                <a:gd name="connsiteX344" fmla="*/ 959358 w 1739455"/>
                <a:gd name="connsiteY344" fmla="*/ 1105281 h 1600200"/>
                <a:gd name="connsiteX345" fmla="*/ 486156 w 1739455"/>
                <a:gd name="connsiteY345" fmla="*/ 672655 h 1600200"/>
                <a:gd name="connsiteX346" fmla="*/ 486156 w 1739455"/>
                <a:gd name="connsiteY346" fmla="*/ 672655 h 1600200"/>
                <a:gd name="connsiteX347" fmla="*/ 486156 w 1739455"/>
                <a:gd name="connsiteY347" fmla="*/ 672655 h 1600200"/>
                <a:gd name="connsiteX348" fmla="*/ 486156 w 1739455"/>
                <a:gd name="connsiteY348" fmla="*/ 672655 h 1600200"/>
                <a:gd name="connsiteX349" fmla="*/ 647033 w 1739455"/>
                <a:gd name="connsiteY349" fmla="*/ 814769 h 1600200"/>
                <a:gd name="connsiteX350" fmla="*/ 647033 w 1739455"/>
                <a:gd name="connsiteY350" fmla="*/ 814769 h 1600200"/>
                <a:gd name="connsiteX351" fmla="*/ 647033 w 1739455"/>
                <a:gd name="connsiteY351" fmla="*/ 814769 h 1600200"/>
                <a:gd name="connsiteX352" fmla="*/ 647033 w 1739455"/>
                <a:gd name="connsiteY352" fmla="*/ 814769 h 1600200"/>
                <a:gd name="connsiteX353" fmla="*/ 793813 w 1739455"/>
                <a:gd name="connsiteY353" fmla="*/ 956881 h 1600200"/>
                <a:gd name="connsiteX354" fmla="*/ 793813 w 1739455"/>
                <a:gd name="connsiteY354" fmla="*/ 956881 h 1600200"/>
                <a:gd name="connsiteX355" fmla="*/ 793813 w 1739455"/>
                <a:gd name="connsiteY355" fmla="*/ 956881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1739455" h="1600200">
                  <a:moveTo>
                    <a:pt x="476" y="514921"/>
                  </a:moveTo>
                  <a:cubicBezTo>
                    <a:pt x="0" y="531686"/>
                    <a:pt x="10001" y="442722"/>
                    <a:pt x="48006" y="442722"/>
                  </a:cubicBezTo>
                  <a:lnTo>
                    <a:pt x="234791" y="442722"/>
                  </a:lnTo>
                  <a:cubicBezTo>
                    <a:pt x="271939" y="443389"/>
                    <a:pt x="319373" y="430435"/>
                    <a:pt x="319373" y="508063"/>
                  </a:cubicBezTo>
                  <a:lnTo>
                    <a:pt x="319373" y="527018"/>
                  </a:lnTo>
                  <a:cubicBezTo>
                    <a:pt x="319373" y="558737"/>
                    <a:pt x="345281" y="584645"/>
                    <a:pt x="377000" y="584645"/>
                  </a:cubicBezTo>
                  <a:lnTo>
                    <a:pt x="405098" y="584645"/>
                  </a:lnTo>
                  <a:cubicBezTo>
                    <a:pt x="449675" y="584645"/>
                    <a:pt x="486061" y="621030"/>
                    <a:pt x="486061" y="665607"/>
                  </a:cubicBezTo>
                  <a:lnTo>
                    <a:pt x="486061" y="672751"/>
                  </a:lnTo>
                  <a:lnTo>
                    <a:pt x="486061" y="674275"/>
                  </a:lnTo>
                  <a:lnTo>
                    <a:pt x="486061" y="674275"/>
                  </a:lnTo>
                  <a:lnTo>
                    <a:pt x="486156" y="675704"/>
                  </a:lnTo>
                  <a:lnTo>
                    <a:pt x="486156" y="675704"/>
                  </a:lnTo>
                  <a:lnTo>
                    <a:pt x="486251" y="677132"/>
                  </a:lnTo>
                  <a:lnTo>
                    <a:pt x="486251" y="677132"/>
                  </a:lnTo>
                  <a:lnTo>
                    <a:pt x="486346" y="678561"/>
                  </a:lnTo>
                  <a:lnTo>
                    <a:pt x="486346" y="678561"/>
                  </a:lnTo>
                  <a:lnTo>
                    <a:pt x="486537" y="679990"/>
                  </a:lnTo>
                  <a:lnTo>
                    <a:pt x="486537" y="679990"/>
                  </a:lnTo>
                  <a:lnTo>
                    <a:pt x="486728" y="681419"/>
                  </a:lnTo>
                  <a:lnTo>
                    <a:pt x="486728" y="681419"/>
                  </a:lnTo>
                  <a:lnTo>
                    <a:pt x="486918" y="682847"/>
                  </a:lnTo>
                  <a:lnTo>
                    <a:pt x="486918" y="682847"/>
                  </a:lnTo>
                  <a:cubicBezTo>
                    <a:pt x="489395" y="697039"/>
                    <a:pt x="497586" y="709994"/>
                    <a:pt x="509206" y="718852"/>
                  </a:cubicBezTo>
                  <a:lnTo>
                    <a:pt x="509206" y="718852"/>
                  </a:lnTo>
                  <a:lnTo>
                    <a:pt x="510350" y="719709"/>
                  </a:lnTo>
                  <a:lnTo>
                    <a:pt x="510350" y="719709"/>
                  </a:lnTo>
                  <a:lnTo>
                    <a:pt x="511493" y="720471"/>
                  </a:lnTo>
                  <a:lnTo>
                    <a:pt x="511493" y="720471"/>
                  </a:lnTo>
                  <a:lnTo>
                    <a:pt x="512636" y="721233"/>
                  </a:lnTo>
                  <a:lnTo>
                    <a:pt x="512636" y="721233"/>
                  </a:lnTo>
                  <a:lnTo>
                    <a:pt x="513779" y="721995"/>
                  </a:lnTo>
                  <a:lnTo>
                    <a:pt x="513779" y="721995"/>
                  </a:lnTo>
                  <a:lnTo>
                    <a:pt x="514350" y="722281"/>
                  </a:lnTo>
                  <a:cubicBezTo>
                    <a:pt x="514826" y="722567"/>
                    <a:pt x="515207" y="722757"/>
                    <a:pt x="515684" y="723043"/>
                  </a:cubicBezTo>
                  <a:lnTo>
                    <a:pt x="516255" y="723329"/>
                  </a:lnTo>
                  <a:lnTo>
                    <a:pt x="516255" y="723329"/>
                  </a:lnTo>
                  <a:lnTo>
                    <a:pt x="517493" y="723995"/>
                  </a:lnTo>
                  <a:lnTo>
                    <a:pt x="517493" y="723995"/>
                  </a:lnTo>
                  <a:lnTo>
                    <a:pt x="518731" y="724662"/>
                  </a:lnTo>
                  <a:lnTo>
                    <a:pt x="518731" y="724662"/>
                  </a:lnTo>
                  <a:lnTo>
                    <a:pt x="519970" y="725234"/>
                  </a:lnTo>
                  <a:lnTo>
                    <a:pt x="519970" y="725234"/>
                  </a:lnTo>
                  <a:cubicBezTo>
                    <a:pt x="520351" y="725424"/>
                    <a:pt x="520827" y="725614"/>
                    <a:pt x="521208" y="725805"/>
                  </a:cubicBezTo>
                  <a:lnTo>
                    <a:pt x="521208" y="725805"/>
                  </a:lnTo>
                  <a:lnTo>
                    <a:pt x="522542" y="726377"/>
                  </a:lnTo>
                  <a:lnTo>
                    <a:pt x="522542" y="726377"/>
                  </a:lnTo>
                  <a:lnTo>
                    <a:pt x="523875" y="726853"/>
                  </a:lnTo>
                  <a:lnTo>
                    <a:pt x="523875" y="726853"/>
                  </a:lnTo>
                  <a:lnTo>
                    <a:pt x="525209" y="727329"/>
                  </a:lnTo>
                  <a:lnTo>
                    <a:pt x="525209" y="727329"/>
                  </a:lnTo>
                  <a:lnTo>
                    <a:pt x="525494" y="727424"/>
                  </a:lnTo>
                  <a:cubicBezTo>
                    <a:pt x="526256" y="727615"/>
                    <a:pt x="526828" y="727805"/>
                    <a:pt x="527590" y="728091"/>
                  </a:cubicBezTo>
                  <a:lnTo>
                    <a:pt x="527876" y="728186"/>
                  </a:lnTo>
                  <a:lnTo>
                    <a:pt x="527876" y="728186"/>
                  </a:lnTo>
                  <a:lnTo>
                    <a:pt x="529209" y="728567"/>
                  </a:lnTo>
                  <a:lnTo>
                    <a:pt x="529209" y="728567"/>
                  </a:lnTo>
                  <a:lnTo>
                    <a:pt x="530543" y="728948"/>
                  </a:lnTo>
                  <a:lnTo>
                    <a:pt x="530543" y="728948"/>
                  </a:lnTo>
                  <a:lnTo>
                    <a:pt x="531971" y="729234"/>
                  </a:lnTo>
                  <a:lnTo>
                    <a:pt x="531971" y="729234"/>
                  </a:lnTo>
                  <a:cubicBezTo>
                    <a:pt x="532447" y="729329"/>
                    <a:pt x="532924" y="729425"/>
                    <a:pt x="533400" y="729520"/>
                  </a:cubicBezTo>
                  <a:lnTo>
                    <a:pt x="533400" y="729520"/>
                  </a:lnTo>
                  <a:lnTo>
                    <a:pt x="533686" y="729520"/>
                  </a:lnTo>
                  <a:cubicBezTo>
                    <a:pt x="534543" y="729615"/>
                    <a:pt x="535210" y="729805"/>
                    <a:pt x="536067" y="729901"/>
                  </a:cubicBezTo>
                  <a:lnTo>
                    <a:pt x="536353" y="729901"/>
                  </a:lnTo>
                  <a:lnTo>
                    <a:pt x="536353" y="729901"/>
                  </a:lnTo>
                  <a:lnTo>
                    <a:pt x="537781" y="730091"/>
                  </a:lnTo>
                  <a:lnTo>
                    <a:pt x="537781" y="730091"/>
                  </a:lnTo>
                  <a:lnTo>
                    <a:pt x="539210" y="730187"/>
                  </a:lnTo>
                  <a:lnTo>
                    <a:pt x="539210" y="730187"/>
                  </a:lnTo>
                  <a:lnTo>
                    <a:pt x="540639" y="730282"/>
                  </a:lnTo>
                  <a:lnTo>
                    <a:pt x="540639" y="730282"/>
                  </a:lnTo>
                  <a:lnTo>
                    <a:pt x="541115" y="730282"/>
                  </a:lnTo>
                  <a:cubicBezTo>
                    <a:pt x="542258" y="730282"/>
                    <a:pt x="543115" y="730377"/>
                    <a:pt x="544259" y="730377"/>
                  </a:cubicBezTo>
                  <a:lnTo>
                    <a:pt x="563594" y="730377"/>
                  </a:lnTo>
                  <a:lnTo>
                    <a:pt x="565880" y="730377"/>
                  </a:lnTo>
                  <a:cubicBezTo>
                    <a:pt x="610457" y="730377"/>
                    <a:pt x="646843" y="766763"/>
                    <a:pt x="646843" y="811339"/>
                  </a:cubicBezTo>
                  <a:lnTo>
                    <a:pt x="646843" y="814864"/>
                  </a:lnTo>
                  <a:lnTo>
                    <a:pt x="646843" y="816388"/>
                  </a:lnTo>
                  <a:lnTo>
                    <a:pt x="646843" y="816388"/>
                  </a:lnTo>
                  <a:lnTo>
                    <a:pt x="646938" y="817817"/>
                  </a:lnTo>
                  <a:lnTo>
                    <a:pt x="646938" y="817817"/>
                  </a:lnTo>
                  <a:lnTo>
                    <a:pt x="647033" y="819245"/>
                  </a:lnTo>
                  <a:lnTo>
                    <a:pt x="647033" y="819245"/>
                  </a:lnTo>
                  <a:lnTo>
                    <a:pt x="647129" y="820674"/>
                  </a:lnTo>
                  <a:lnTo>
                    <a:pt x="647129" y="820674"/>
                  </a:lnTo>
                  <a:lnTo>
                    <a:pt x="647319" y="822103"/>
                  </a:lnTo>
                  <a:lnTo>
                    <a:pt x="647319" y="822103"/>
                  </a:lnTo>
                  <a:lnTo>
                    <a:pt x="647510" y="823531"/>
                  </a:lnTo>
                  <a:lnTo>
                    <a:pt x="647510" y="823531"/>
                  </a:lnTo>
                  <a:lnTo>
                    <a:pt x="647795" y="824960"/>
                  </a:lnTo>
                  <a:lnTo>
                    <a:pt x="647795" y="824960"/>
                  </a:lnTo>
                  <a:cubicBezTo>
                    <a:pt x="647890" y="825437"/>
                    <a:pt x="647986" y="825913"/>
                    <a:pt x="648081" y="826389"/>
                  </a:cubicBezTo>
                  <a:lnTo>
                    <a:pt x="648081" y="826389"/>
                  </a:lnTo>
                  <a:lnTo>
                    <a:pt x="648367" y="827818"/>
                  </a:lnTo>
                  <a:lnTo>
                    <a:pt x="648367" y="827818"/>
                  </a:lnTo>
                  <a:lnTo>
                    <a:pt x="648748" y="829247"/>
                  </a:lnTo>
                  <a:lnTo>
                    <a:pt x="648748" y="829247"/>
                  </a:lnTo>
                  <a:cubicBezTo>
                    <a:pt x="654939" y="852392"/>
                    <a:pt x="675227" y="870204"/>
                    <a:pt x="700088" y="872300"/>
                  </a:cubicBezTo>
                  <a:lnTo>
                    <a:pt x="700088" y="872300"/>
                  </a:lnTo>
                  <a:lnTo>
                    <a:pt x="701516" y="872395"/>
                  </a:lnTo>
                  <a:lnTo>
                    <a:pt x="701516" y="872395"/>
                  </a:lnTo>
                  <a:lnTo>
                    <a:pt x="701993" y="872395"/>
                  </a:lnTo>
                  <a:cubicBezTo>
                    <a:pt x="703136" y="872395"/>
                    <a:pt x="703993" y="872490"/>
                    <a:pt x="705136" y="872490"/>
                  </a:cubicBezTo>
                  <a:lnTo>
                    <a:pt x="712565" y="872490"/>
                  </a:lnTo>
                  <a:cubicBezTo>
                    <a:pt x="757142" y="872490"/>
                    <a:pt x="793528" y="908876"/>
                    <a:pt x="793528" y="953453"/>
                  </a:cubicBezTo>
                  <a:lnTo>
                    <a:pt x="793528" y="956977"/>
                  </a:lnTo>
                  <a:lnTo>
                    <a:pt x="793528" y="958501"/>
                  </a:lnTo>
                  <a:lnTo>
                    <a:pt x="793528" y="958501"/>
                  </a:lnTo>
                  <a:lnTo>
                    <a:pt x="793623" y="959930"/>
                  </a:lnTo>
                  <a:lnTo>
                    <a:pt x="793623" y="959930"/>
                  </a:lnTo>
                  <a:lnTo>
                    <a:pt x="793718" y="961358"/>
                  </a:lnTo>
                  <a:lnTo>
                    <a:pt x="793718" y="961358"/>
                  </a:lnTo>
                  <a:lnTo>
                    <a:pt x="793813" y="962787"/>
                  </a:lnTo>
                  <a:lnTo>
                    <a:pt x="793813" y="962787"/>
                  </a:lnTo>
                  <a:lnTo>
                    <a:pt x="794004" y="964216"/>
                  </a:lnTo>
                  <a:lnTo>
                    <a:pt x="794004" y="964216"/>
                  </a:lnTo>
                  <a:lnTo>
                    <a:pt x="794195" y="965645"/>
                  </a:lnTo>
                  <a:lnTo>
                    <a:pt x="794195" y="965645"/>
                  </a:lnTo>
                  <a:cubicBezTo>
                    <a:pt x="797147" y="983361"/>
                    <a:pt x="807530" y="998315"/>
                    <a:pt x="823151" y="1007269"/>
                  </a:cubicBezTo>
                  <a:lnTo>
                    <a:pt x="823722" y="1007555"/>
                  </a:lnTo>
                  <a:lnTo>
                    <a:pt x="823722" y="1007555"/>
                  </a:lnTo>
                  <a:lnTo>
                    <a:pt x="824960" y="1008221"/>
                  </a:lnTo>
                  <a:lnTo>
                    <a:pt x="824960" y="1008221"/>
                  </a:lnTo>
                  <a:lnTo>
                    <a:pt x="826198" y="1008888"/>
                  </a:lnTo>
                  <a:lnTo>
                    <a:pt x="826198" y="1008888"/>
                  </a:lnTo>
                  <a:lnTo>
                    <a:pt x="827437" y="1009460"/>
                  </a:lnTo>
                  <a:lnTo>
                    <a:pt x="827437" y="1009460"/>
                  </a:lnTo>
                  <a:cubicBezTo>
                    <a:pt x="827818" y="1009650"/>
                    <a:pt x="828294" y="1009841"/>
                    <a:pt x="828675" y="1010031"/>
                  </a:cubicBezTo>
                  <a:lnTo>
                    <a:pt x="828675" y="1010031"/>
                  </a:lnTo>
                  <a:lnTo>
                    <a:pt x="830009" y="1010603"/>
                  </a:lnTo>
                  <a:lnTo>
                    <a:pt x="830009" y="1010603"/>
                  </a:lnTo>
                  <a:lnTo>
                    <a:pt x="831342" y="1011079"/>
                  </a:lnTo>
                  <a:lnTo>
                    <a:pt x="831342" y="1011079"/>
                  </a:lnTo>
                  <a:lnTo>
                    <a:pt x="832676" y="1011555"/>
                  </a:lnTo>
                  <a:lnTo>
                    <a:pt x="832676" y="1011555"/>
                  </a:lnTo>
                  <a:lnTo>
                    <a:pt x="832961" y="1011650"/>
                  </a:lnTo>
                  <a:cubicBezTo>
                    <a:pt x="833723" y="1011841"/>
                    <a:pt x="834295" y="1012031"/>
                    <a:pt x="835057" y="1012317"/>
                  </a:cubicBezTo>
                  <a:lnTo>
                    <a:pt x="835343" y="1012412"/>
                  </a:lnTo>
                  <a:lnTo>
                    <a:pt x="835343" y="1012412"/>
                  </a:lnTo>
                  <a:lnTo>
                    <a:pt x="836676" y="1012793"/>
                  </a:lnTo>
                  <a:lnTo>
                    <a:pt x="836676" y="1012793"/>
                  </a:lnTo>
                  <a:lnTo>
                    <a:pt x="838010" y="1013174"/>
                  </a:lnTo>
                  <a:lnTo>
                    <a:pt x="838010" y="1013174"/>
                  </a:lnTo>
                  <a:lnTo>
                    <a:pt x="839438" y="1013460"/>
                  </a:lnTo>
                  <a:lnTo>
                    <a:pt x="839438" y="1013460"/>
                  </a:lnTo>
                  <a:cubicBezTo>
                    <a:pt x="839914" y="1013555"/>
                    <a:pt x="840391" y="1013651"/>
                    <a:pt x="840867" y="1013746"/>
                  </a:cubicBezTo>
                  <a:lnTo>
                    <a:pt x="840867" y="1013746"/>
                  </a:lnTo>
                  <a:lnTo>
                    <a:pt x="841153" y="1013746"/>
                  </a:lnTo>
                  <a:cubicBezTo>
                    <a:pt x="842010" y="1013841"/>
                    <a:pt x="842677" y="1014031"/>
                    <a:pt x="843534" y="1014127"/>
                  </a:cubicBezTo>
                  <a:lnTo>
                    <a:pt x="843820" y="1014127"/>
                  </a:lnTo>
                  <a:lnTo>
                    <a:pt x="843820" y="1014127"/>
                  </a:lnTo>
                  <a:lnTo>
                    <a:pt x="845248" y="1014317"/>
                  </a:lnTo>
                  <a:lnTo>
                    <a:pt x="845248" y="1014317"/>
                  </a:lnTo>
                  <a:lnTo>
                    <a:pt x="846677" y="1014413"/>
                  </a:lnTo>
                  <a:lnTo>
                    <a:pt x="846677" y="1014413"/>
                  </a:lnTo>
                  <a:lnTo>
                    <a:pt x="848106" y="1014508"/>
                  </a:lnTo>
                  <a:lnTo>
                    <a:pt x="848106" y="1014508"/>
                  </a:lnTo>
                  <a:lnTo>
                    <a:pt x="848582" y="1014508"/>
                  </a:lnTo>
                  <a:cubicBezTo>
                    <a:pt x="849725" y="1014508"/>
                    <a:pt x="850583" y="1014603"/>
                    <a:pt x="851726" y="1014603"/>
                  </a:cubicBezTo>
                  <a:lnTo>
                    <a:pt x="871156" y="1014603"/>
                  </a:lnTo>
                  <a:lnTo>
                    <a:pt x="878110" y="1014603"/>
                  </a:lnTo>
                  <a:cubicBezTo>
                    <a:pt x="922687" y="1014603"/>
                    <a:pt x="959072" y="1050989"/>
                    <a:pt x="959072" y="1095566"/>
                  </a:cubicBezTo>
                  <a:lnTo>
                    <a:pt x="959072" y="1105376"/>
                  </a:lnTo>
                  <a:lnTo>
                    <a:pt x="959072" y="1106805"/>
                  </a:lnTo>
                  <a:lnTo>
                    <a:pt x="959072" y="1106805"/>
                  </a:lnTo>
                  <a:lnTo>
                    <a:pt x="959168" y="1108234"/>
                  </a:lnTo>
                  <a:lnTo>
                    <a:pt x="959168" y="1108234"/>
                  </a:lnTo>
                  <a:lnTo>
                    <a:pt x="959263" y="1109663"/>
                  </a:lnTo>
                  <a:lnTo>
                    <a:pt x="959263" y="1109663"/>
                  </a:lnTo>
                  <a:lnTo>
                    <a:pt x="959358" y="1111091"/>
                  </a:lnTo>
                  <a:lnTo>
                    <a:pt x="959358" y="1111091"/>
                  </a:lnTo>
                  <a:lnTo>
                    <a:pt x="959548" y="1112520"/>
                  </a:lnTo>
                  <a:lnTo>
                    <a:pt x="959548" y="1112520"/>
                  </a:lnTo>
                  <a:lnTo>
                    <a:pt x="959739" y="1113949"/>
                  </a:lnTo>
                  <a:lnTo>
                    <a:pt x="959739" y="1113949"/>
                  </a:lnTo>
                  <a:lnTo>
                    <a:pt x="959930" y="1115378"/>
                  </a:lnTo>
                  <a:lnTo>
                    <a:pt x="959930" y="1115378"/>
                  </a:lnTo>
                  <a:cubicBezTo>
                    <a:pt x="960025" y="1115854"/>
                    <a:pt x="960120" y="1116330"/>
                    <a:pt x="960215" y="1116806"/>
                  </a:cubicBezTo>
                  <a:lnTo>
                    <a:pt x="960215" y="1116806"/>
                  </a:lnTo>
                  <a:lnTo>
                    <a:pt x="960501" y="1118235"/>
                  </a:lnTo>
                  <a:lnTo>
                    <a:pt x="960501" y="1118235"/>
                  </a:lnTo>
                  <a:lnTo>
                    <a:pt x="960882" y="1119664"/>
                  </a:lnTo>
                  <a:lnTo>
                    <a:pt x="960882" y="1119664"/>
                  </a:lnTo>
                  <a:lnTo>
                    <a:pt x="961263" y="1120997"/>
                  </a:lnTo>
                  <a:lnTo>
                    <a:pt x="961263" y="1120997"/>
                  </a:lnTo>
                  <a:lnTo>
                    <a:pt x="961644" y="1122331"/>
                  </a:lnTo>
                  <a:lnTo>
                    <a:pt x="961644" y="1122331"/>
                  </a:lnTo>
                  <a:lnTo>
                    <a:pt x="962120" y="1123664"/>
                  </a:lnTo>
                  <a:lnTo>
                    <a:pt x="962120" y="1123664"/>
                  </a:lnTo>
                  <a:lnTo>
                    <a:pt x="962597" y="1124998"/>
                  </a:lnTo>
                  <a:lnTo>
                    <a:pt x="962597" y="1124998"/>
                  </a:lnTo>
                  <a:lnTo>
                    <a:pt x="963073" y="1126331"/>
                  </a:lnTo>
                  <a:lnTo>
                    <a:pt x="963073" y="1126331"/>
                  </a:lnTo>
                  <a:lnTo>
                    <a:pt x="963644" y="1127665"/>
                  </a:lnTo>
                  <a:lnTo>
                    <a:pt x="963644" y="1127665"/>
                  </a:lnTo>
                  <a:lnTo>
                    <a:pt x="964216" y="1128903"/>
                  </a:lnTo>
                  <a:lnTo>
                    <a:pt x="964216" y="1128903"/>
                  </a:lnTo>
                  <a:lnTo>
                    <a:pt x="964787" y="1130141"/>
                  </a:lnTo>
                  <a:lnTo>
                    <a:pt x="964787" y="1130141"/>
                  </a:lnTo>
                  <a:lnTo>
                    <a:pt x="965454" y="1131380"/>
                  </a:lnTo>
                  <a:lnTo>
                    <a:pt x="965454" y="1131380"/>
                  </a:lnTo>
                  <a:cubicBezTo>
                    <a:pt x="965645" y="1131761"/>
                    <a:pt x="965835" y="1132237"/>
                    <a:pt x="966121" y="1132618"/>
                  </a:cubicBezTo>
                  <a:lnTo>
                    <a:pt x="966121" y="1132618"/>
                  </a:lnTo>
                  <a:lnTo>
                    <a:pt x="966788" y="1133856"/>
                  </a:lnTo>
                  <a:lnTo>
                    <a:pt x="966788" y="1133856"/>
                  </a:lnTo>
                  <a:cubicBezTo>
                    <a:pt x="966978" y="1134237"/>
                    <a:pt x="967264" y="1134618"/>
                    <a:pt x="967454" y="1135094"/>
                  </a:cubicBezTo>
                  <a:lnTo>
                    <a:pt x="967454" y="1135094"/>
                  </a:lnTo>
                  <a:lnTo>
                    <a:pt x="968216" y="1136237"/>
                  </a:lnTo>
                  <a:lnTo>
                    <a:pt x="968216" y="1136237"/>
                  </a:lnTo>
                  <a:lnTo>
                    <a:pt x="968978" y="1137380"/>
                  </a:lnTo>
                  <a:lnTo>
                    <a:pt x="968978" y="1137380"/>
                  </a:lnTo>
                  <a:lnTo>
                    <a:pt x="969740" y="1138523"/>
                  </a:lnTo>
                  <a:lnTo>
                    <a:pt x="969740" y="1138523"/>
                  </a:lnTo>
                  <a:lnTo>
                    <a:pt x="970597" y="1139666"/>
                  </a:lnTo>
                  <a:lnTo>
                    <a:pt x="970597" y="1139666"/>
                  </a:lnTo>
                  <a:lnTo>
                    <a:pt x="971455" y="1140809"/>
                  </a:lnTo>
                  <a:lnTo>
                    <a:pt x="971455" y="1140809"/>
                  </a:lnTo>
                  <a:cubicBezTo>
                    <a:pt x="971740" y="1141190"/>
                    <a:pt x="972026" y="1141571"/>
                    <a:pt x="972312" y="1141857"/>
                  </a:cubicBezTo>
                  <a:lnTo>
                    <a:pt x="972312" y="1141857"/>
                  </a:lnTo>
                  <a:lnTo>
                    <a:pt x="973169" y="1142905"/>
                  </a:lnTo>
                  <a:lnTo>
                    <a:pt x="973169" y="1142905"/>
                  </a:lnTo>
                  <a:lnTo>
                    <a:pt x="974122" y="1143953"/>
                  </a:lnTo>
                  <a:lnTo>
                    <a:pt x="974122" y="1143953"/>
                  </a:lnTo>
                  <a:lnTo>
                    <a:pt x="975074" y="1145000"/>
                  </a:lnTo>
                  <a:lnTo>
                    <a:pt x="975074" y="1145000"/>
                  </a:lnTo>
                  <a:lnTo>
                    <a:pt x="976027" y="1145953"/>
                  </a:lnTo>
                  <a:lnTo>
                    <a:pt x="976027" y="1145953"/>
                  </a:lnTo>
                  <a:lnTo>
                    <a:pt x="976979" y="1146905"/>
                  </a:lnTo>
                  <a:lnTo>
                    <a:pt x="976979" y="1146905"/>
                  </a:lnTo>
                  <a:lnTo>
                    <a:pt x="978027" y="1147858"/>
                  </a:lnTo>
                  <a:lnTo>
                    <a:pt x="978027" y="1147858"/>
                  </a:lnTo>
                  <a:lnTo>
                    <a:pt x="979075" y="1148810"/>
                  </a:lnTo>
                  <a:lnTo>
                    <a:pt x="979075" y="1148810"/>
                  </a:lnTo>
                  <a:lnTo>
                    <a:pt x="980122" y="1149668"/>
                  </a:lnTo>
                  <a:lnTo>
                    <a:pt x="980122" y="1149668"/>
                  </a:lnTo>
                  <a:cubicBezTo>
                    <a:pt x="980504" y="1149953"/>
                    <a:pt x="980885" y="1150239"/>
                    <a:pt x="981170" y="1150525"/>
                  </a:cubicBezTo>
                  <a:lnTo>
                    <a:pt x="981170" y="1150525"/>
                  </a:lnTo>
                  <a:cubicBezTo>
                    <a:pt x="981551" y="1150811"/>
                    <a:pt x="981932" y="1151096"/>
                    <a:pt x="982218" y="1151382"/>
                  </a:cubicBezTo>
                  <a:lnTo>
                    <a:pt x="982218" y="1151382"/>
                  </a:lnTo>
                  <a:lnTo>
                    <a:pt x="983361" y="1152239"/>
                  </a:lnTo>
                  <a:lnTo>
                    <a:pt x="983361" y="1152239"/>
                  </a:lnTo>
                  <a:lnTo>
                    <a:pt x="984504" y="1153001"/>
                  </a:lnTo>
                  <a:lnTo>
                    <a:pt x="984504" y="1153001"/>
                  </a:lnTo>
                  <a:lnTo>
                    <a:pt x="985647" y="1153763"/>
                  </a:lnTo>
                  <a:lnTo>
                    <a:pt x="985647" y="1153763"/>
                  </a:lnTo>
                  <a:lnTo>
                    <a:pt x="986790" y="1154525"/>
                  </a:lnTo>
                  <a:lnTo>
                    <a:pt x="986790" y="1154525"/>
                  </a:lnTo>
                  <a:lnTo>
                    <a:pt x="988028" y="1155192"/>
                  </a:lnTo>
                  <a:lnTo>
                    <a:pt x="988028" y="1155192"/>
                  </a:lnTo>
                  <a:lnTo>
                    <a:pt x="989267" y="1155859"/>
                  </a:lnTo>
                  <a:lnTo>
                    <a:pt x="989267" y="1155859"/>
                  </a:lnTo>
                  <a:lnTo>
                    <a:pt x="990505" y="1156526"/>
                  </a:lnTo>
                  <a:lnTo>
                    <a:pt x="990505" y="1156526"/>
                  </a:lnTo>
                  <a:lnTo>
                    <a:pt x="991743" y="1157192"/>
                  </a:lnTo>
                  <a:lnTo>
                    <a:pt x="991743" y="1157192"/>
                  </a:lnTo>
                  <a:lnTo>
                    <a:pt x="992981" y="1157764"/>
                  </a:lnTo>
                  <a:lnTo>
                    <a:pt x="992981" y="1157764"/>
                  </a:lnTo>
                  <a:cubicBezTo>
                    <a:pt x="993362" y="1157954"/>
                    <a:pt x="993838" y="1158145"/>
                    <a:pt x="994220" y="1158335"/>
                  </a:cubicBezTo>
                  <a:lnTo>
                    <a:pt x="994220" y="1158335"/>
                  </a:lnTo>
                  <a:lnTo>
                    <a:pt x="995553" y="1158907"/>
                  </a:lnTo>
                  <a:lnTo>
                    <a:pt x="995553" y="1158907"/>
                  </a:lnTo>
                  <a:lnTo>
                    <a:pt x="996887" y="1159383"/>
                  </a:lnTo>
                  <a:lnTo>
                    <a:pt x="996887" y="1159383"/>
                  </a:lnTo>
                  <a:lnTo>
                    <a:pt x="998220" y="1159859"/>
                  </a:lnTo>
                  <a:lnTo>
                    <a:pt x="998220" y="1159859"/>
                  </a:lnTo>
                  <a:lnTo>
                    <a:pt x="999554" y="1160336"/>
                  </a:lnTo>
                  <a:lnTo>
                    <a:pt x="999554" y="1160336"/>
                  </a:lnTo>
                  <a:lnTo>
                    <a:pt x="1000887" y="1160717"/>
                  </a:lnTo>
                  <a:lnTo>
                    <a:pt x="1000887" y="1160717"/>
                  </a:lnTo>
                  <a:lnTo>
                    <a:pt x="1002221" y="1161098"/>
                  </a:lnTo>
                  <a:lnTo>
                    <a:pt x="1002221" y="1161098"/>
                  </a:lnTo>
                  <a:lnTo>
                    <a:pt x="1003554" y="1161479"/>
                  </a:lnTo>
                  <a:lnTo>
                    <a:pt x="1003554" y="1161479"/>
                  </a:lnTo>
                  <a:lnTo>
                    <a:pt x="1004983" y="1161764"/>
                  </a:lnTo>
                  <a:lnTo>
                    <a:pt x="1004983" y="1161764"/>
                  </a:lnTo>
                  <a:cubicBezTo>
                    <a:pt x="1005459" y="1161860"/>
                    <a:pt x="1005935" y="1161955"/>
                    <a:pt x="1006412" y="1162050"/>
                  </a:cubicBezTo>
                  <a:lnTo>
                    <a:pt x="1006412" y="1162050"/>
                  </a:lnTo>
                  <a:lnTo>
                    <a:pt x="1007840" y="1162336"/>
                  </a:lnTo>
                  <a:lnTo>
                    <a:pt x="1007840" y="1162336"/>
                  </a:lnTo>
                  <a:lnTo>
                    <a:pt x="1009269" y="1162526"/>
                  </a:lnTo>
                  <a:lnTo>
                    <a:pt x="1009269" y="1162526"/>
                  </a:lnTo>
                  <a:lnTo>
                    <a:pt x="1010698" y="1162717"/>
                  </a:lnTo>
                  <a:lnTo>
                    <a:pt x="1010698" y="1162717"/>
                  </a:lnTo>
                  <a:lnTo>
                    <a:pt x="1012127" y="1162812"/>
                  </a:lnTo>
                  <a:lnTo>
                    <a:pt x="1012127" y="1162812"/>
                  </a:lnTo>
                  <a:lnTo>
                    <a:pt x="1013555" y="1162907"/>
                  </a:lnTo>
                  <a:lnTo>
                    <a:pt x="1013555" y="1162907"/>
                  </a:lnTo>
                  <a:lnTo>
                    <a:pt x="1014031" y="1162907"/>
                  </a:lnTo>
                  <a:cubicBezTo>
                    <a:pt x="1015079" y="1162907"/>
                    <a:pt x="1016032" y="1163003"/>
                    <a:pt x="1017175" y="1163003"/>
                  </a:cubicBezTo>
                  <a:lnTo>
                    <a:pt x="1047560" y="1163003"/>
                  </a:lnTo>
                  <a:lnTo>
                    <a:pt x="1199483" y="1163003"/>
                  </a:lnTo>
                  <a:cubicBezTo>
                    <a:pt x="1244060" y="1163003"/>
                    <a:pt x="1280446" y="1199388"/>
                    <a:pt x="1280446" y="1243965"/>
                  </a:cubicBezTo>
                  <a:lnTo>
                    <a:pt x="1280446" y="1375886"/>
                  </a:lnTo>
                  <a:lnTo>
                    <a:pt x="1280446" y="1539431"/>
                  </a:lnTo>
                  <a:lnTo>
                    <a:pt x="1280446" y="1542574"/>
                  </a:lnTo>
                  <a:cubicBezTo>
                    <a:pt x="1280446" y="1574292"/>
                    <a:pt x="1306354" y="1600200"/>
                    <a:pt x="1338072" y="1600200"/>
                  </a:cubicBezTo>
                  <a:lnTo>
                    <a:pt x="1358075" y="1600200"/>
                  </a:lnTo>
                  <a:cubicBezTo>
                    <a:pt x="1389793" y="1600200"/>
                    <a:pt x="1415701" y="1574292"/>
                    <a:pt x="1415701" y="1542574"/>
                  </a:cubicBezTo>
                  <a:lnTo>
                    <a:pt x="1415701" y="1534477"/>
                  </a:lnTo>
                  <a:cubicBezTo>
                    <a:pt x="1415701" y="1489900"/>
                    <a:pt x="1452086" y="1453515"/>
                    <a:pt x="1496663" y="1453515"/>
                  </a:cubicBezTo>
                  <a:lnTo>
                    <a:pt x="1527239" y="1453515"/>
                  </a:lnTo>
                  <a:cubicBezTo>
                    <a:pt x="1558957" y="1453515"/>
                    <a:pt x="1584865" y="1427607"/>
                    <a:pt x="1584865" y="1395889"/>
                  </a:cubicBezTo>
                  <a:lnTo>
                    <a:pt x="1584865" y="1375886"/>
                  </a:lnTo>
                  <a:cubicBezTo>
                    <a:pt x="1584865" y="1351026"/>
                    <a:pt x="1568958" y="1329690"/>
                    <a:pt x="1546765" y="1321689"/>
                  </a:cubicBezTo>
                  <a:cubicBezTo>
                    <a:pt x="1535716" y="1317689"/>
                    <a:pt x="1493520" y="1325689"/>
                    <a:pt x="1477518" y="1318070"/>
                  </a:cubicBezTo>
                  <a:cubicBezTo>
                    <a:pt x="1439609" y="1299877"/>
                    <a:pt x="1425226" y="1259014"/>
                    <a:pt x="1429988" y="1231487"/>
                  </a:cubicBezTo>
                  <a:cubicBezTo>
                    <a:pt x="1436846" y="1192435"/>
                    <a:pt x="1459039" y="1164527"/>
                    <a:pt x="1498759" y="1164527"/>
                  </a:cubicBezTo>
                  <a:lnTo>
                    <a:pt x="1681829" y="1164527"/>
                  </a:lnTo>
                  <a:cubicBezTo>
                    <a:pt x="1713548" y="1164527"/>
                    <a:pt x="1739456" y="1138619"/>
                    <a:pt x="1739456" y="1106900"/>
                  </a:cubicBezTo>
                  <a:lnTo>
                    <a:pt x="1739456" y="1086898"/>
                  </a:lnTo>
                  <a:cubicBezTo>
                    <a:pt x="1739456" y="1055180"/>
                    <a:pt x="1713548" y="1029272"/>
                    <a:pt x="1681829" y="1029272"/>
                  </a:cubicBezTo>
                  <a:lnTo>
                    <a:pt x="1498854" y="1029272"/>
                  </a:lnTo>
                  <a:cubicBezTo>
                    <a:pt x="1454277" y="1029272"/>
                    <a:pt x="1417892" y="992886"/>
                    <a:pt x="1417892" y="948309"/>
                  </a:cubicBezTo>
                  <a:lnTo>
                    <a:pt x="1417892" y="942594"/>
                  </a:lnTo>
                  <a:cubicBezTo>
                    <a:pt x="1417892" y="910876"/>
                    <a:pt x="1391984" y="884968"/>
                    <a:pt x="1360265" y="884968"/>
                  </a:cubicBezTo>
                  <a:lnTo>
                    <a:pt x="1186148" y="884968"/>
                  </a:lnTo>
                  <a:cubicBezTo>
                    <a:pt x="1141571" y="884968"/>
                    <a:pt x="1105186" y="848582"/>
                    <a:pt x="1105186" y="804005"/>
                  </a:cubicBezTo>
                  <a:lnTo>
                    <a:pt x="1105186" y="646176"/>
                  </a:lnTo>
                  <a:cubicBezTo>
                    <a:pt x="1105186" y="635508"/>
                    <a:pt x="1102233" y="625412"/>
                    <a:pt x="1097089" y="616839"/>
                  </a:cubicBezTo>
                  <a:cubicBezTo>
                    <a:pt x="1096804" y="616458"/>
                    <a:pt x="1096613" y="616077"/>
                    <a:pt x="1096423" y="615696"/>
                  </a:cubicBezTo>
                  <a:cubicBezTo>
                    <a:pt x="1086517" y="598361"/>
                    <a:pt x="1067753" y="586550"/>
                    <a:pt x="1046417" y="586550"/>
                  </a:cubicBezTo>
                  <a:lnTo>
                    <a:pt x="1024128" y="586550"/>
                  </a:lnTo>
                  <a:cubicBezTo>
                    <a:pt x="979551" y="586550"/>
                    <a:pt x="943165" y="550164"/>
                    <a:pt x="943165" y="505587"/>
                  </a:cubicBezTo>
                  <a:lnTo>
                    <a:pt x="943165" y="505206"/>
                  </a:lnTo>
                  <a:cubicBezTo>
                    <a:pt x="943165" y="473488"/>
                    <a:pt x="917162" y="447770"/>
                    <a:pt x="885539" y="446818"/>
                  </a:cubicBezTo>
                  <a:lnTo>
                    <a:pt x="844772" y="445580"/>
                  </a:lnTo>
                  <a:cubicBezTo>
                    <a:pt x="816864" y="441674"/>
                    <a:pt x="795242" y="417481"/>
                    <a:pt x="795242" y="388525"/>
                  </a:cubicBezTo>
                  <a:lnTo>
                    <a:pt x="795242" y="368522"/>
                  </a:lnTo>
                  <a:cubicBezTo>
                    <a:pt x="795242" y="336804"/>
                    <a:pt x="821150" y="310896"/>
                    <a:pt x="852869" y="310896"/>
                  </a:cubicBezTo>
                  <a:lnTo>
                    <a:pt x="952119" y="310896"/>
                  </a:lnTo>
                  <a:lnTo>
                    <a:pt x="951167" y="57626"/>
                  </a:lnTo>
                  <a:cubicBezTo>
                    <a:pt x="951071" y="26003"/>
                    <a:pt x="925259" y="0"/>
                    <a:pt x="893540" y="0"/>
                  </a:cubicBezTo>
                  <a:lnTo>
                    <a:pt x="214598" y="0"/>
                  </a:lnTo>
                  <a:cubicBezTo>
                    <a:pt x="185166" y="0"/>
                    <a:pt x="160592" y="22479"/>
                    <a:pt x="157353" y="51149"/>
                  </a:cubicBezTo>
                  <a:lnTo>
                    <a:pt x="157353" y="93059"/>
                  </a:lnTo>
                  <a:cubicBezTo>
                    <a:pt x="157353" y="124778"/>
                    <a:pt x="131445" y="150686"/>
                    <a:pt x="99727" y="150686"/>
                  </a:cubicBezTo>
                  <a:lnTo>
                    <a:pt x="0" y="150686"/>
                  </a:lnTo>
                  <a:lnTo>
                    <a:pt x="476" y="514921"/>
                  </a:lnTo>
                  <a:lnTo>
                    <a:pt x="476" y="514921"/>
                  </a:lnTo>
                  <a:close/>
                  <a:moveTo>
                    <a:pt x="959358" y="1105281"/>
                  </a:moveTo>
                  <a:lnTo>
                    <a:pt x="959358" y="1105281"/>
                  </a:lnTo>
                  <a:lnTo>
                    <a:pt x="959358" y="1105281"/>
                  </a:lnTo>
                  <a:lnTo>
                    <a:pt x="959358" y="1105281"/>
                  </a:lnTo>
                  <a:close/>
                  <a:moveTo>
                    <a:pt x="486156" y="672655"/>
                  </a:moveTo>
                  <a:lnTo>
                    <a:pt x="486156" y="672655"/>
                  </a:lnTo>
                  <a:lnTo>
                    <a:pt x="486156" y="672655"/>
                  </a:lnTo>
                  <a:lnTo>
                    <a:pt x="486156" y="672655"/>
                  </a:lnTo>
                  <a:close/>
                  <a:moveTo>
                    <a:pt x="647033" y="814769"/>
                  </a:moveTo>
                  <a:lnTo>
                    <a:pt x="647033" y="814769"/>
                  </a:lnTo>
                  <a:lnTo>
                    <a:pt x="647033" y="814769"/>
                  </a:lnTo>
                  <a:lnTo>
                    <a:pt x="647033" y="814769"/>
                  </a:lnTo>
                  <a:close/>
                  <a:moveTo>
                    <a:pt x="793813" y="956881"/>
                  </a:moveTo>
                  <a:lnTo>
                    <a:pt x="793813" y="956881"/>
                  </a:lnTo>
                  <a:lnTo>
                    <a:pt x="793813" y="956881"/>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6" name="Freeform: Shape 75">
              <a:extLst>
                <a:ext uri="{FF2B5EF4-FFF2-40B4-BE49-F238E27FC236}">
                  <a16:creationId xmlns:a16="http://schemas.microsoft.com/office/drawing/2014/main" id="{ADBE45A6-1754-4E48-8162-FDC37FDF368B}"/>
                </a:ext>
              </a:extLst>
            </p:cNvPr>
            <p:cNvSpPr/>
            <p:nvPr/>
          </p:nvSpPr>
          <p:spPr>
            <a:xfrm>
              <a:off x="2597579" y="3391265"/>
              <a:ext cx="633888" cy="436149"/>
            </a:xfrm>
            <a:custGeom>
              <a:avLst/>
              <a:gdLst>
                <a:gd name="connsiteX0" fmla="*/ 633889 w 633888"/>
                <a:gd name="connsiteY0" fmla="*/ 285464 h 436149"/>
                <a:gd name="connsiteX1" fmla="*/ 633889 w 633888"/>
                <a:gd name="connsiteY1" fmla="*/ 142208 h 436149"/>
                <a:gd name="connsiteX2" fmla="*/ 57626 w 633888"/>
                <a:gd name="connsiteY2" fmla="*/ 143256 h 436149"/>
                <a:gd name="connsiteX3" fmla="*/ 0 w 633888"/>
                <a:gd name="connsiteY3" fmla="*/ 200882 h 436149"/>
                <a:gd name="connsiteX4" fmla="*/ 0 w 633888"/>
                <a:gd name="connsiteY4" fmla="*/ 378523 h 436149"/>
                <a:gd name="connsiteX5" fmla="*/ 57626 w 633888"/>
                <a:gd name="connsiteY5" fmla="*/ 436150 h 436149"/>
                <a:gd name="connsiteX6" fmla="*/ 253079 w 633888"/>
                <a:gd name="connsiteY6" fmla="*/ 436150 h 436149"/>
                <a:gd name="connsiteX7" fmla="*/ 310705 w 633888"/>
                <a:gd name="connsiteY7" fmla="*/ 378523 h 436149"/>
                <a:gd name="connsiteX8" fmla="*/ 310705 w 633888"/>
                <a:gd name="connsiteY8" fmla="*/ 336613 h 436149"/>
                <a:gd name="connsiteX9" fmla="*/ 367951 w 633888"/>
                <a:gd name="connsiteY9" fmla="*/ 285464 h 436149"/>
                <a:gd name="connsiteX10" fmla="*/ 633889 w 633888"/>
                <a:gd name="connsiteY10" fmla="*/ 285464 h 436149"/>
                <a:gd name="connsiteX11" fmla="*/ 633889 w 633888"/>
                <a:gd name="connsiteY11" fmla="*/ 285464 h 436149"/>
                <a:gd name="connsiteX12" fmla="*/ 91345 w 633888"/>
                <a:gd name="connsiteY12" fmla="*/ 0 h 436149"/>
                <a:gd name="connsiteX13" fmla="*/ 91345 w 633888"/>
                <a:gd name="connsiteY13" fmla="*/ 0 h 436149"/>
                <a:gd name="connsiteX14" fmla="*/ 91345 w 633888"/>
                <a:gd name="connsiteY14" fmla="*/ 0 h 436149"/>
                <a:gd name="connsiteX15" fmla="*/ 91345 w 633888"/>
                <a:gd name="connsiteY15" fmla="*/ 0 h 436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3888" h="436149">
                  <a:moveTo>
                    <a:pt x="633889" y="285464"/>
                  </a:moveTo>
                  <a:lnTo>
                    <a:pt x="633889" y="142208"/>
                  </a:lnTo>
                  <a:cubicBezTo>
                    <a:pt x="427482" y="142208"/>
                    <a:pt x="249746" y="143256"/>
                    <a:pt x="57626" y="143256"/>
                  </a:cubicBezTo>
                  <a:cubicBezTo>
                    <a:pt x="25908" y="143256"/>
                    <a:pt x="0" y="169164"/>
                    <a:pt x="0" y="200882"/>
                  </a:cubicBezTo>
                  <a:lnTo>
                    <a:pt x="0" y="378523"/>
                  </a:lnTo>
                  <a:cubicBezTo>
                    <a:pt x="0" y="410242"/>
                    <a:pt x="25908" y="436150"/>
                    <a:pt x="57626" y="436150"/>
                  </a:cubicBezTo>
                  <a:lnTo>
                    <a:pt x="253079" y="436150"/>
                  </a:lnTo>
                  <a:cubicBezTo>
                    <a:pt x="284797" y="436150"/>
                    <a:pt x="310705" y="410242"/>
                    <a:pt x="310705" y="378523"/>
                  </a:cubicBezTo>
                  <a:lnTo>
                    <a:pt x="310705" y="336613"/>
                  </a:lnTo>
                  <a:cubicBezTo>
                    <a:pt x="313944" y="307943"/>
                    <a:pt x="338519" y="285464"/>
                    <a:pt x="367951" y="285464"/>
                  </a:cubicBezTo>
                  <a:lnTo>
                    <a:pt x="633889" y="285464"/>
                  </a:lnTo>
                  <a:lnTo>
                    <a:pt x="633889" y="285464"/>
                  </a:lnTo>
                  <a:close/>
                  <a:moveTo>
                    <a:pt x="91345" y="0"/>
                  </a:moveTo>
                  <a:lnTo>
                    <a:pt x="91345" y="0"/>
                  </a:lnTo>
                  <a:lnTo>
                    <a:pt x="91345" y="0"/>
                  </a:lnTo>
                  <a:lnTo>
                    <a:pt x="91345"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7" name="Freeform: Shape 76">
              <a:extLst>
                <a:ext uri="{FF2B5EF4-FFF2-40B4-BE49-F238E27FC236}">
                  <a16:creationId xmlns:a16="http://schemas.microsoft.com/office/drawing/2014/main" id="{62F51B9B-4E03-4045-B10D-5D366682E2F4}"/>
                </a:ext>
              </a:extLst>
            </p:cNvPr>
            <p:cNvSpPr/>
            <p:nvPr/>
          </p:nvSpPr>
          <p:spPr>
            <a:xfrm>
              <a:off x="3231373" y="3411077"/>
              <a:ext cx="951737" cy="573595"/>
            </a:xfrm>
            <a:custGeom>
              <a:avLst/>
              <a:gdLst>
                <a:gd name="connsiteX0" fmla="*/ 472440 w 951737"/>
                <a:gd name="connsiteY0" fmla="*/ 0 h 573595"/>
                <a:gd name="connsiteX1" fmla="*/ 951738 w 951737"/>
                <a:gd name="connsiteY1" fmla="*/ 0 h 573595"/>
                <a:gd name="connsiteX2" fmla="*/ 951738 w 951737"/>
                <a:gd name="connsiteY2" fmla="*/ 213265 h 573595"/>
                <a:gd name="connsiteX3" fmla="*/ 894112 w 951737"/>
                <a:gd name="connsiteY3" fmla="*/ 270891 h 573595"/>
                <a:gd name="connsiteX4" fmla="*/ 859250 w 951737"/>
                <a:gd name="connsiteY4" fmla="*/ 270891 h 573595"/>
                <a:gd name="connsiteX5" fmla="*/ 786574 w 951737"/>
                <a:gd name="connsiteY5" fmla="*/ 347567 h 573595"/>
                <a:gd name="connsiteX6" fmla="*/ 786574 w 951737"/>
                <a:gd name="connsiteY6" fmla="*/ 515969 h 573595"/>
                <a:gd name="connsiteX7" fmla="*/ 728948 w 951737"/>
                <a:gd name="connsiteY7" fmla="*/ 573596 h 573595"/>
                <a:gd name="connsiteX8" fmla="*/ 472535 w 951737"/>
                <a:gd name="connsiteY8" fmla="*/ 573596 h 573595"/>
                <a:gd name="connsiteX9" fmla="*/ 475869 w 951737"/>
                <a:gd name="connsiteY9" fmla="*/ 515969 h 573595"/>
                <a:gd name="connsiteX10" fmla="*/ 475869 w 951737"/>
                <a:gd name="connsiteY10" fmla="*/ 316802 h 573595"/>
                <a:gd name="connsiteX11" fmla="*/ 418624 w 951737"/>
                <a:gd name="connsiteY11" fmla="*/ 265652 h 573595"/>
                <a:gd name="connsiteX12" fmla="*/ 0 w 951737"/>
                <a:gd name="connsiteY12" fmla="*/ 265652 h 573595"/>
                <a:gd name="connsiteX13" fmla="*/ 0 w 951737"/>
                <a:gd name="connsiteY13" fmla="*/ 122396 h 573595"/>
                <a:gd name="connsiteX14" fmla="*/ 78772 w 951737"/>
                <a:gd name="connsiteY14" fmla="*/ 122396 h 573595"/>
                <a:gd name="connsiteX15" fmla="*/ 93345 w 951737"/>
                <a:gd name="connsiteY15" fmla="*/ 121729 h 573595"/>
                <a:gd name="connsiteX16" fmla="*/ 101251 w 951737"/>
                <a:gd name="connsiteY16" fmla="*/ 121348 h 573595"/>
                <a:gd name="connsiteX17" fmla="*/ 400240 w 951737"/>
                <a:gd name="connsiteY17" fmla="*/ 121348 h 573595"/>
                <a:gd name="connsiteX18" fmla="*/ 470249 w 951737"/>
                <a:gd name="connsiteY18" fmla="*/ 51340 h 573595"/>
                <a:gd name="connsiteX19" fmla="*/ 472440 w 951737"/>
                <a:gd name="connsiteY19" fmla="*/ 0 h 5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1737" h="573595">
                  <a:moveTo>
                    <a:pt x="472440" y="0"/>
                  </a:moveTo>
                  <a:lnTo>
                    <a:pt x="951738" y="0"/>
                  </a:lnTo>
                  <a:lnTo>
                    <a:pt x="951738" y="213265"/>
                  </a:lnTo>
                  <a:cubicBezTo>
                    <a:pt x="951738" y="244983"/>
                    <a:pt x="925830" y="270891"/>
                    <a:pt x="894112" y="270891"/>
                  </a:cubicBezTo>
                  <a:lnTo>
                    <a:pt x="859250" y="270891"/>
                  </a:lnTo>
                  <a:cubicBezTo>
                    <a:pt x="802957" y="270891"/>
                    <a:pt x="784955" y="325946"/>
                    <a:pt x="786574" y="347567"/>
                  </a:cubicBezTo>
                  <a:lnTo>
                    <a:pt x="786574" y="515969"/>
                  </a:lnTo>
                  <a:cubicBezTo>
                    <a:pt x="786574" y="547688"/>
                    <a:pt x="760666" y="573596"/>
                    <a:pt x="728948" y="573596"/>
                  </a:cubicBezTo>
                  <a:lnTo>
                    <a:pt x="472535" y="573596"/>
                  </a:lnTo>
                  <a:lnTo>
                    <a:pt x="475869" y="515969"/>
                  </a:lnTo>
                  <a:lnTo>
                    <a:pt x="475869" y="316802"/>
                  </a:lnTo>
                  <a:cubicBezTo>
                    <a:pt x="472630" y="288131"/>
                    <a:pt x="448056" y="265652"/>
                    <a:pt x="418624" y="265652"/>
                  </a:cubicBezTo>
                  <a:lnTo>
                    <a:pt x="0" y="265652"/>
                  </a:lnTo>
                  <a:lnTo>
                    <a:pt x="0" y="122396"/>
                  </a:lnTo>
                  <a:lnTo>
                    <a:pt x="78772" y="122396"/>
                  </a:lnTo>
                  <a:cubicBezTo>
                    <a:pt x="83725" y="122396"/>
                    <a:pt x="88582" y="122111"/>
                    <a:pt x="93345" y="121729"/>
                  </a:cubicBezTo>
                  <a:cubicBezTo>
                    <a:pt x="96107" y="121444"/>
                    <a:pt x="98488" y="121348"/>
                    <a:pt x="101251" y="121348"/>
                  </a:cubicBezTo>
                  <a:lnTo>
                    <a:pt x="400240" y="121348"/>
                  </a:lnTo>
                  <a:cubicBezTo>
                    <a:pt x="438721" y="121348"/>
                    <a:pt x="468630" y="89821"/>
                    <a:pt x="470249" y="51340"/>
                  </a:cubicBezTo>
                  <a:lnTo>
                    <a:pt x="472440"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8" name="Freeform: Shape 77">
              <a:extLst>
                <a:ext uri="{FF2B5EF4-FFF2-40B4-BE49-F238E27FC236}">
                  <a16:creationId xmlns:a16="http://schemas.microsoft.com/office/drawing/2014/main" id="{A1A71930-64E4-44CF-BCC5-2C1AA1D05337}"/>
                </a:ext>
              </a:extLst>
            </p:cNvPr>
            <p:cNvSpPr/>
            <p:nvPr/>
          </p:nvSpPr>
          <p:spPr>
            <a:xfrm>
              <a:off x="3704003" y="3830177"/>
              <a:ext cx="314039" cy="154495"/>
            </a:xfrm>
            <a:custGeom>
              <a:avLst/>
              <a:gdLst>
                <a:gd name="connsiteX0" fmla="*/ 314039 w 314039"/>
                <a:gd name="connsiteY0" fmla="*/ 0 h 154495"/>
                <a:gd name="connsiteX1" fmla="*/ 314039 w 314039"/>
                <a:gd name="connsiteY1" fmla="*/ 96869 h 154495"/>
                <a:gd name="connsiteX2" fmla="*/ 256413 w 314039"/>
                <a:gd name="connsiteY2" fmla="*/ 154496 h 154495"/>
                <a:gd name="connsiteX3" fmla="*/ 0 w 314039"/>
                <a:gd name="connsiteY3" fmla="*/ 154496 h 154495"/>
                <a:gd name="connsiteX4" fmla="*/ 3334 w 314039"/>
                <a:gd name="connsiteY4" fmla="*/ 96869 h 154495"/>
                <a:gd name="connsiteX5" fmla="*/ 3334 w 314039"/>
                <a:gd name="connsiteY5" fmla="*/ 0 h 154495"/>
                <a:gd name="connsiteX6" fmla="*/ 314039 w 314039"/>
                <a:gd name="connsiteY6" fmla="*/ 0 h 15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039" h="154495">
                  <a:moveTo>
                    <a:pt x="314039" y="0"/>
                  </a:moveTo>
                  <a:lnTo>
                    <a:pt x="314039" y="96869"/>
                  </a:lnTo>
                  <a:cubicBezTo>
                    <a:pt x="314039" y="128588"/>
                    <a:pt x="288131" y="154496"/>
                    <a:pt x="256413" y="154496"/>
                  </a:cubicBezTo>
                  <a:lnTo>
                    <a:pt x="0" y="154496"/>
                  </a:lnTo>
                  <a:lnTo>
                    <a:pt x="3334" y="96869"/>
                  </a:lnTo>
                  <a:lnTo>
                    <a:pt x="3334" y="0"/>
                  </a:lnTo>
                  <a:lnTo>
                    <a:pt x="314039"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81" name="Freeform: Shape 80">
              <a:extLst>
                <a:ext uri="{FF2B5EF4-FFF2-40B4-BE49-F238E27FC236}">
                  <a16:creationId xmlns:a16="http://schemas.microsoft.com/office/drawing/2014/main" id="{7DB9E8EB-2B5D-4391-9D44-13E2D271D45A}"/>
                </a:ext>
              </a:extLst>
            </p:cNvPr>
            <p:cNvSpPr/>
            <p:nvPr/>
          </p:nvSpPr>
          <p:spPr>
            <a:xfrm>
              <a:off x="3828495" y="3830462"/>
              <a:ext cx="820769" cy="493014"/>
            </a:xfrm>
            <a:custGeom>
              <a:avLst/>
              <a:gdLst>
                <a:gd name="connsiteX0" fmla="*/ 0 w 820769"/>
                <a:gd name="connsiteY0" fmla="*/ 154210 h 493014"/>
                <a:gd name="connsiteX1" fmla="*/ 41053 w 820769"/>
                <a:gd name="connsiteY1" fmla="*/ 220313 h 493014"/>
                <a:gd name="connsiteX2" fmla="*/ 41053 w 820769"/>
                <a:gd name="connsiteY2" fmla="*/ 239268 h 493014"/>
                <a:gd name="connsiteX3" fmla="*/ 98679 w 820769"/>
                <a:gd name="connsiteY3" fmla="*/ 296894 h 493014"/>
                <a:gd name="connsiteX4" fmla="*/ 126778 w 820769"/>
                <a:gd name="connsiteY4" fmla="*/ 296894 h 493014"/>
                <a:gd name="connsiteX5" fmla="*/ 207740 w 820769"/>
                <a:gd name="connsiteY5" fmla="*/ 377857 h 493014"/>
                <a:gd name="connsiteX6" fmla="*/ 207740 w 820769"/>
                <a:gd name="connsiteY6" fmla="*/ 385001 h 493014"/>
                <a:gd name="connsiteX7" fmla="*/ 207740 w 820769"/>
                <a:gd name="connsiteY7" fmla="*/ 386524 h 493014"/>
                <a:gd name="connsiteX8" fmla="*/ 207740 w 820769"/>
                <a:gd name="connsiteY8" fmla="*/ 386524 h 493014"/>
                <a:gd name="connsiteX9" fmla="*/ 207835 w 820769"/>
                <a:gd name="connsiteY9" fmla="*/ 387953 h 493014"/>
                <a:gd name="connsiteX10" fmla="*/ 207835 w 820769"/>
                <a:gd name="connsiteY10" fmla="*/ 387953 h 493014"/>
                <a:gd name="connsiteX11" fmla="*/ 207931 w 820769"/>
                <a:gd name="connsiteY11" fmla="*/ 389382 h 493014"/>
                <a:gd name="connsiteX12" fmla="*/ 207931 w 820769"/>
                <a:gd name="connsiteY12" fmla="*/ 389382 h 493014"/>
                <a:gd name="connsiteX13" fmla="*/ 208026 w 820769"/>
                <a:gd name="connsiteY13" fmla="*/ 390811 h 493014"/>
                <a:gd name="connsiteX14" fmla="*/ 208026 w 820769"/>
                <a:gd name="connsiteY14" fmla="*/ 390811 h 493014"/>
                <a:gd name="connsiteX15" fmla="*/ 208216 w 820769"/>
                <a:gd name="connsiteY15" fmla="*/ 392239 h 493014"/>
                <a:gd name="connsiteX16" fmla="*/ 208216 w 820769"/>
                <a:gd name="connsiteY16" fmla="*/ 392239 h 493014"/>
                <a:gd name="connsiteX17" fmla="*/ 208407 w 820769"/>
                <a:gd name="connsiteY17" fmla="*/ 393668 h 493014"/>
                <a:gd name="connsiteX18" fmla="*/ 208407 w 820769"/>
                <a:gd name="connsiteY18" fmla="*/ 393668 h 493014"/>
                <a:gd name="connsiteX19" fmla="*/ 208597 w 820769"/>
                <a:gd name="connsiteY19" fmla="*/ 395097 h 493014"/>
                <a:gd name="connsiteX20" fmla="*/ 208597 w 820769"/>
                <a:gd name="connsiteY20" fmla="*/ 395097 h 493014"/>
                <a:gd name="connsiteX21" fmla="*/ 230886 w 820769"/>
                <a:gd name="connsiteY21" fmla="*/ 431102 h 493014"/>
                <a:gd name="connsiteX22" fmla="*/ 230886 w 820769"/>
                <a:gd name="connsiteY22" fmla="*/ 431102 h 493014"/>
                <a:gd name="connsiteX23" fmla="*/ 232029 w 820769"/>
                <a:gd name="connsiteY23" fmla="*/ 431959 h 493014"/>
                <a:gd name="connsiteX24" fmla="*/ 232029 w 820769"/>
                <a:gd name="connsiteY24" fmla="*/ 431959 h 493014"/>
                <a:gd name="connsiteX25" fmla="*/ 233172 w 820769"/>
                <a:gd name="connsiteY25" fmla="*/ 432721 h 493014"/>
                <a:gd name="connsiteX26" fmla="*/ 233172 w 820769"/>
                <a:gd name="connsiteY26" fmla="*/ 432721 h 493014"/>
                <a:gd name="connsiteX27" fmla="*/ 234315 w 820769"/>
                <a:gd name="connsiteY27" fmla="*/ 433483 h 493014"/>
                <a:gd name="connsiteX28" fmla="*/ 234315 w 820769"/>
                <a:gd name="connsiteY28" fmla="*/ 433483 h 493014"/>
                <a:gd name="connsiteX29" fmla="*/ 235458 w 820769"/>
                <a:gd name="connsiteY29" fmla="*/ 434245 h 493014"/>
                <a:gd name="connsiteX30" fmla="*/ 235458 w 820769"/>
                <a:gd name="connsiteY30" fmla="*/ 434245 h 493014"/>
                <a:gd name="connsiteX31" fmla="*/ 236029 w 820769"/>
                <a:gd name="connsiteY31" fmla="*/ 434530 h 493014"/>
                <a:gd name="connsiteX32" fmla="*/ 237363 w 820769"/>
                <a:gd name="connsiteY32" fmla="*/ 435293 h 493014"/>
                <a:gd name="connsiteX33" fmla="*/ 237934 w 820769"/>
                <a:gd name="connsiteY33" fmla="*/ 435578 h 493014"/>
                <a:gd name="connsiteX34" fmla="*/ 237934 w 820769"/>
                <a:gd name="connsiteY34" fmla="*/ 435578 h 493014"/>
                <a:gd name="connsiteX35" fmla="*/ 239173 w 820769"/>
                <a:gd name="connsiteY35" fmla="*/ 436245 h 493014"/>
                <a:gd name="connsiteX36" fmla="*/ 239173 w 820769"/>
                <a:gd name="connsiteY36" fmla="*/ 436245 h 493014"/>
                <a:gd name="connsiteX37" fmla="*/ 240411 w 820769"/>
                <a:gd name="connsiteY37" fmla="*/ 436912 h 493014"/>
                <a:gd name="connsiteX38" fmla="*/ 240411 w 820769"/>
                <a:gd name="connsiteY38" fmla="*/ 436912 h 493014"/>
                <a:gd name="connsiteX39" fmla="*/ 241649 w 820769"/>
                <a:gd name="connsiteY39" fmla="*/ 437483 h 493014"/>
                <a:gd name="connsiteX40" fmla="*/ 241649 w 820769"/>
                <a:gd name="connsiteY40" fmla="*/ 437483 h 493014"/>
                <a:gd name="connsiteX41" fmla="*/ 242888 w 820769"/>
                <a:gd name="connsiteY41" fmla="*/ 438055 h 493014"/>
                <a:gd name="connsiteX42" fmla="*/ 242888 w 820769"/>
                <a:gd name="connsiteY42" fmla="*/ 438055 h 493014"/>
                <a:gd name="connsiteX43" fmla="*/ 244221 w 820769"/>
                <a:gd name="connsiteY43" fmla="*/ 438626 h 493014"/>
                <a:gd name="connsiteX44" fmla="*/ 244221 w 820769"/>
                <a:gd name="connsiteY44" fmla="*/ 438626 h 493014"/>
                <a:gd name="connsiteX45" fmla="*/ 245554 w 820769"/>
                <a:gd name="connsiteY45" fmla="*/ 439103 h 493014"/>
                <a:gd name="connsiteX46" fmla="*/ 245554 w 820769"/>
                <a:gd name="connsiteY46" fmla="*/ 439103 h 493014"/>
                <a:gd name="connsiteX47" fmla="*/ 246888 w 820769"/>
                <a:gd name="connsiteY47" fmla="*/ 439579 h 493014"/>
                <a:gd name="connsiteX48" fmla="*/ 246888 w 820769"/>
                <a:gd name="connsiteY48" fmla="*/ 439579 h 493014"/>
                <a:gd name="connsiteX49" fmla="*/ 247174 w 820769"/>
                <a:gd name="connsiteY49" fmla="*/ 439674 h 493014"/>
                <a:gd name="connsiteX50" fmla="*/ 249269 w 820769"/>
                <a:gd name="connsiteY50" fmla="*/ 440341 h 493014"/>
                <a:gd name="connsiteX51" fmla="*/ 249555 w 820769"/>
                <a:gd name="connsiteY51" fmla="*/ 440436 h 493014"/>
                <a:gd name="connsiteX52" fmla="*/ 249555 w 820769"/>
                <a:gd name="connsiteY52" fmla="*/ 440436 h 493014"/>
                <a:gd name="connsiteX53" fmla="*/ 250888 w 820769"/>
                <a:gd name="connsiteY53" fmla="*/ 440817 h 493014"/>
                <a:gd name="connsiteX54" fmla="*/ 250888 w 820769"/>
                <a:gd name="connsiteY54" fmla="*/ 440817 h 493014"/>
                <a:gd name="connsiteX55" fmla="*/ 252222 w 820769"/>
                <a:gd name="connsiteY55" fmla="*/ 441198 h 493014"/>
                <a:gd name="connsiteX56" fmla="*/ 252222 w 820769"/>
                <a:gd name="connsiteY56" fmla="*/ 441198 h 493014"/>
                <a:gd name="connsiteX57" fmla="*/ 253651 w 820769"/>
                <a:gd name="connsiteY57" fmla="*/ 441484 h 493014"/>
                <a:gd name="connsiteX58" fmla="*/ 253651 w 820769"/>
                <a:gd name="connsiteY58" fmla="*/ 441484 h 493014"/>
                <a:gd name="connsiteX59" fmla="*/ 255079 w 820769"/>
                <a:gd name="connsiteY59" fmla="*/ 441770 h 493014"/>
                <a:gd name="connsiteX60" fmla="*/ 255079 w 820769"/>
                <a:gd name="connsiteY60" fmla="*/ 441770 h 493014"/>
                <a:gd name="connsiteX61" fmla="*/ 255365 w 820769"/>
                <a:gd name="connsiteY61" fmla="*/ 441770 h 493014"/>
                <a:gd name="connsiteX62" fmla="*/ 257746 w 820769"/>
                <a:gd name="connsiteY62" fmla="*/ 442151 h 493014"/>
                <a:gd name="connsiteX63" fmla="*/ 258032 w 820769"/>
                <a:gd name="connsiteY63" fmla="*/ 442151 h 493014"/>
                <a:gd name="connsiteX64" fmla="*/ 258032 w 820769"/>
                <a:gd name="connsiteY64" fmla="*/ 442151 h 493014"/>
                <a:gd name="connsiteX65" fmla="*/ 259461 w 820769"/>
                <a:gd name="connsiteY65" fmla="*/ 442341 h 493014"/>
                <a:gd name="connsiteX66" fmla="*/ 259461 w 820769"/>
                <a:gd name="connsiteY66" fmla="*/ 442341 h 493014"/>
                <a:gd name="connsiteX67" fmla="*/ 260890 w 820769"/>
                <a:gd name="connsiteY67" fmla="*/ 442436 h 493014"/>
                <a:gd name="connsiteX68" fmla="*/ 260890 w 820769"/>
                <a:gd name="connsiteY68" fmla="*/ 442436 h 493014"/>
                <a:gd name="connsiteX69" fmla="*/ 262318 w 820769"/>
                <a:gd name="connsiteY69" fmla="*/ 442531 h 493014"/>
                <a:gd name="connsiteX70" fmla="*/ 262318 w 820769"/>
                <a:gd name="connsiteY70" fmla="*/ 442531 h 493014"/>
                <a:gd name="connsiteX71" fmla="*/ 262795 w 820769"/>
                <a:gd name="connsiteY71" fmla="*/ 442531 h 493014"/>
                <a:gd name="connsiteX72" fmla="*/ 265938 w 820769"/>
                <a:gd name="connsiteY72" fmla="*/ 442627 h 493014"/>
                <a:gd name="connsiteX73" fmla="*/ 431768 w 820769"/>
                <a:gd name="connsiteY73" fmla="*/ 442627 h 493014"/>
                <a:gd name="connsiteX74" fmla="*/ 434054 w 820769"/>
                <a:gd name="connsiteY74" fmla="*/ 442627 h 493014"/>
                <a:gd name="connsiteX75" fmla="*/ 509016 w 820769"/>
                <a:gd name="connsiteY75" fmla="*/ 493014 h 493014"/>
                <a:gd name="connsiteX76" fmla="*/ 506349 w 820769"/>
                <a:gd name="connsiteY76" fmla="*/ 345377 h 493014"/>
                <a:gd name="connsiteX77" fmla="*/ 423767 w 820769"/>
                <a:gd name="connsiteY77" fmla="*/ 276130 h 493014"/>
                <a:gd name="connsiteX78" fmla="*/ 408622 w 820769"/>
                <a:gd name="connsiteY78" fmla="*/ 276130 h 493014"/>
                <a:gd name="connsiteX79" fmla="*/ 350996 w 820769"/>
                <a:gd name="connsiteY79" fmla="*/ 218504 h 493014"/>
                <a:gd name="connsiteX80" fmla="*/ 350996 w 820769"/>
                <a:gd name="connsiteY80" fmla="*/ 198501 h 493014"/>
                <a:gd name="connsiteX81" fmla="*/ 408622 w 820769"/>
                <a:gd name="connsiteY81" fmla="*/ 140875 h 493014"/>
                <a:gd name="connsiteX82" fmla="*/ 820769 w 820769"/>
                <a:gd name="connsiteY82" fmla="*/ 140875 h 493014"/>
                <a:gd name="connsiteX83" fmla="*/ 820769 w 820769"/>
                <a:gd name="connsiteY83" fmla="*/ 0 h 493014"/>
                <a:gd name="connsiteX84" fmla="*/ 189547 w 820769"/>
                <a:gd name="connsiteY84" fmla="*/ 0 h 493014"/>
                <a:gd name="connsiteX85" fmla="*/ 189547 w 820769"/>
                <a:gd name="connsiteY85" fmla="*/ 96869 h 493014"/>
                <a:gd name="connsiteX86" fmla="*/ 131921 w 820769"/>
                <a:gd name="connsiteY86" fmla="*/ 154496 h 493014"/>
                <a:gd name="connsiteX87" fmla="*/ 0 w 820769"/>
                <a:gd name="connsiteY87" fmla="*/ 154496 h 493014"/>
                <a:gd name="connsiteX88" fmla="*/ 0 w 820769"/>
                <a:gd name="connsiteY88" fmla="*/ 154210 h 493014"/>
                <a:gd name="connsiteX89" fmla="*/ 207740 w 820769"/>
                <a:gd name="connsiteY89" fmla="*/ 384905 h 493014"/>
                <a:gd name="connsiteX90" fmla="*/ 207740 w 820769"/>
                <a:gd name="connsiteY90" fmla="*/ 384905 h 493014"/>
                <a:gd name="connsiteX91" fmla="*/ 207740 w 820769"/>
                <a:gd name="connsiteY91" fmla="*/ 384905 h 49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820769" h="493014">
                  <a:moveTo>
                    <a:pt x="0" y="154210"/>
                  </a:moveTo>
                  <a:cubicBezTo>
                    <a:pt x="24003" y="154496"/>
                    <a:pt x="41053" y="169450"/>
                    <a:pt x="41053" y="220313"/>
                  </a:cubicBezTo>
                  <a:lnTo>
                    <a:pt x="41053" y="239268"/>
                  </a:lnTo>
                  <a:cubicBezTo>
                    <a:pt x="41053" y="270986"/>
                    <a:pt x="66961" y="296894"/>
                    <a:pt x="98679" y="296894"/>
                  </a:cubicBezTo>
                  <a:lnTo>
                    <a:pt x="126778" y="296894"/>
                  </a:lnTo>
                  <a:cubicBezTo>
                    <a:pt x="171355" y="296894"/>
                    <a:pt x="207740" y="333280"/>
                    <a:pt x="207740" y="377857"/>
                  </a:cubicBezTo>
                  <a:lnTo>
                    <a:pt x="207740" y="385001"/>
                  </a:lnTo>
                  <a:lnTo>
                    <a:pt x="207740" y="386524"/>
                  </a:lnTo>
                  <a:lnTo>
                    <a:pt x="207740" y="386524"/>
                  </a:lnTo>
                  <a:lnTo>
                    <a:pt x="207835" y="387953"/>
                  </a:lnTo>
                  <a:lnTo>
                    <a:pt x="207835" y="387953"/>
                  </a:lnTo>
                  <a:lnTo>
                    <a:pt x="207931" y="389382"/>
                  </a:lnTo>
                  <a:lnTo>
                    <a:pt x="207931" y="389382"/>
                  </a:lnTo>
                  <a:lnTo>
                    <a:pt x="208026" y="390811"/>
                  </a:lnTo>
                  <a:lnTo>
                    <a:pt x="208026" y="390811"/>
                  </a:lnTo>
                  <a:lnTo>
                    <a:pt x="208216" y="392239"/>
                  </a:lnTo>
                  <a:lnTo>
                    <a:pt x="208216" y="392239"/>
                  </a:lnTo>
                  <a:lnTo>
                    <a:pt x="208407" y="393668"/>
                  </a:lnTo>
                  <a:lnTo>
                    <a:pt x="208407" y="393668"/>
                  </a:lnTo>
                  <a:lnTo>
                    <a:pt x="208597" y="395097"/>
                  </a:lnTo>
                  <a:lnTo>
                    <a:pt x="208597" y="395097"/>
                  </a:lnTo>
                  <a:cubicBezTo>
                    <a:pt x="211074" y="409289"/>
                    <a:pt x="219265" y="422243"/>
                    <a:pt x="230886" y="431102"/>
                  </a:cubicBezTo>
                  <a:lnTo>
                    <a:pt x="230886" y="431102"/>
                  </a:lnTo>
                  <a:lnTo>
                    <a:pt x="232029" y="431959"/>
                  </a:lnTo>
                  <a:lnTo>
                    <a:pt x="232029" y="431959"/>
                  </a:lnTo>
                  <a:lnTo>
                    <a:pt x="233172" y="432721"/>
                  </a:lnTo>
                  <a:lnTo>
                    <a:pt x="233172" y="432721"/>
                  </a:lnTo>
                  <a:lnTo>
                    <a:pt x="234315" y="433483"/>
                  </a:lnTo>
                  <a:lnTo>
                    <a:pt x="234315" y="433483"/>
                  </a:lnTo>
                  <a:lnTo>
                    <a:pt x="235458" y="434245"/>
                  </a:lnTo>
                  <a:lnTo>
                    <a:pt x="235458" y="434245"/>
                  </a:lnTo>
                  <a:lnTo>
                    <a:pt x="236029" y="434530"/>
                  </a:lnTo>
                  <a:cubicBezTo>
                    <a:pt x="236506" y="434816"/>
                    <a:pt x="236887" y="435007"/>
                    <a:pt x="237363" y="435293"/>
                  </a:cubicBezTo>
                  <a:lnTo>
                    <a:pt x="237934" y="435578"/>
                  </a:lnTo>
                  <a:lnTo>
                    <a:pt x="237934" y="435578"/>
                  </a:lnTo>
                  <a:lnTo>
                    <a:pt x="239173" y="436245"/>
                  </a:lnTo>
                  <a:lnTo>
                    <a:pt x="239173" y="436245"/>
                  </a:lnTo>
                  <a:lnTo>
                    <a:pt x="240411" y="436912"/>
                  </a:lnTo>
                  <a:lnTo>
                    <a:pt x="240411" y="436912"/>
                  </a:lnTo>
                  <a:lnTo>
                    <a:pt x="241649" y="437483"/>
                  </a:lnTo>
                  <a:lnTo>
                    <a:pt x="241649" y="437483"/>
                  </a:lnTo>
                  <a:cubicBezTo>
                    <a:pt x="242030" y="437674"/>
                    <a:pt x="242506" y="437864"/>
                    <a:pt x="242888" y="438055"/>
                  </a:cubicBezTo>
                  <a:lnTo>
                    <a:pt x="242888" y="438055"/>
                  </a:lnTo>
                  <a:lnTo>
                    <a:pt x="244221" y="438626"/>
                  </a:lnTo>
                  <a:lnTo>
                    <a:pt x="244221" y="438626"/>
                  </a:lnTo>
                  <a:lnTo>
                    <a:pt x="245554" y="439103"/>
                  </a:lnTo>
                  <a:lnTo>
                    <a:pt x="245554" y="439103"/>
                  </a:lnTo>
                  <a:lnTo>
                    <a:pt x="246888" y="439579"/>
                  </a:lnTo>
                  <a:lnTo>
                    <a:pt x="246888" y="439579"/>
                  </a:lnTo>
                  <a:lnTo>
                    <a:pt x="247174" y="439674"/>
                  </a:lnTo>
                  <a:cubicBezTo>
                    <a:pt x="247936" y="439864"/>
                    <a:pt x="248507" y="440055"/>
                    <a:pt x="249269" y="440341"/>
                  </a:cubicBezTo>
                  <a:lnTo>
                    <a:pt x="249555" y="440436"/>
                  </a:lnTo>
                  <a:lnTo>
                    <a:pt x="249555" y="440436"/>
                  </a:lnTo>
                  <a:lnTo>
                    <a:pt x="250888" y="440817"/>
                  </a:lnTo>
                  <a:lnTo>
                    <a:pt x="250888" y="440817"/>
                  </a:lnTo>
                  <a:lnTo>
                    <a:pt x="252222" y="441198"/>
                  </a:lnTo>
                  <a:lnTo>
                    <a:pt x="252222" y="441198"/>
                  </a:lnTo>
                  <a:lnTo>
                    <a:pt x="253651" y="441484"/>
                  </a:lnTo>
                  <a:lnTo>
                    <a:pt x="253651" y="441484"/>
                  </a:lnTo>
                  <a:cubicBezTo>
                    <a:pt x="254127" y="441579"/>
                    <a:pt x="254603" y="441674"/>
                    <a:pt x="255079" y="441770"/>
                  </a:cubicBezTo>
                  <a:lnTo>
                    <a:pt x="255079" y="441770"/>
                  </a:lnTo>
                  <a:lnTo>
                    <a:pt x="255365" y="441770"/>
                  </a:lnTo>
                  <a:cubicBezTo>
                    <a:pt x="256222" y="441865"/>
                    <a:pt x="256889" y="442055"/>
                    <a:pt x="257746" y="442151"/>
                  </a:cubicBezTo>
                  <a:lnTo>
                    <a:pt x="258032" y="442151"/>
                  </a:lnTo>
                  <a:lnTo>
                    <a:pt x="258032" y="442151"/>
                  </a:lnTo>
                  <a:lnTo>
                    <a:pt x="259461" y="442341"/>
                  </a:lnTo>
                  <a:lnTo>
                    <a:pt x="259461" y="442341"/>
                  </a:lnTo>
                  <a:lnTo>
                    <a:pt x="260890" y="442436"/>
                  </a:lnTo>
                  <a:lnTo>
                    <a:pt x="260890" y="442436"/>
                  </a:lnTo>
                  <a:lnTo>
                    <a:pt x="262318" y="442531"/>
                  </a:lnTo>
                  <a:lnTo>
                    <a:pt x="262318" y="442531"/>
                  </a:lnTo>
                  <a:lnTo>
                    <a:pt x="262795" y="442531"/>
                  </a:lnTo>
                  <a:cubicBezTo>
                    <a:pt x="263938" y="442531"/>
                    <a:pt x="264795" y="442627"/>
                    <a:pt x="265938" y="442627"/>
                  </a:cubicBezTo>
                  <a:lnTo>
                    <a:pt x="431768" y="442627"/>
                  </a:lnTo>
                  <a:lnTo>
                    <a:pt x="434054" y="442627"/>
                  </a:lnTo>
                  <a:cubicBezTo>
                    <a:pt x="467868" y="442627"/>
                    <a:pt x="496824" y="463487"/>
                    <a:pt x="509016" y="493014"/>
                  </a:cubicBezTo>
                  <a:lnTo>
                    <a:pt x="506349" y="345377"/>
                  </a:lnTo>
                  <a:cubicBezTo>
                    <a:pt x="505015" y="273463"/>
                    <a:pt x="439007" y="276606"/>
                    <a:pt x="423767" y="276130"/>
                  </a:cubicBezTo>
                  <a:lnTo>
                    <a:pt x="408622" y="276130"/>
                  </a:lnTo>
                  <a:cubicBezTo>
                    <a:pt x="376904" y="276130"/>
                    <a:pt x="350996" y="250222"/>
                    <a:pt x="350996" y="218504"/>
                  </a:cubicBezTo>
                  <a:lnTo>
                    <a:pt x="350996" y="198501"/>
                  </a:lnTo>
                  <a:cubicBezTo>
                    <a:pt x="350996" y="166783"/>
                    <a:pt x="376904" y="140875"/>
                    <a:pt x="408622" y="140875"/>
                  </a:cubicBezTo>
                  <a:lnTo>
                    <a:pt x="820769" y="140875"/>
                  </a:lnTo>
                  <a:lnTo>
                    <a:pt x="820769" y="0"/>
                  </a:lnTo>
                  <a:lnTo>
                    <a:pt x="189547" y="0"/>
                  </a:lnTo>
                  <a:lnTo>
                    <a:pt x="189547" y="96869"/>
                  </a:lnTo>
                  <a:cubicBezTo>
                    <a:pt x="189547" y="128588"/>
                    <a:pt x="163639" y="154496"/>
                    <a:pt x="131921" y="154496"/>
                  </a:cubicBezTo>
                  <a:lnTo>
                    <a:pt x="0" y="154496"/>
                  </a:lnTo>
                  <a:lnTo>
                    <a:pt x="0" y="154210"/>
                  </a:lnTo>
                  <a:close/>
                  <a:moveTo>
                    <a:pt x="207740" y="384905"/>
                  </a:moveTo>
                  <a:lnTo>
                    <a:pt x="207740" y="384905"/>
                  </a:lnTo>
                  <a:lnTo>
                    <a:pt x="207740" y="384905"/>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82" name="Freeform: Shape 81">
              <a:extLst>
                <a:ext uri="{FF2B5EF4-FFF2-40B4-BE49-F238E27FC236}">
                  <a16:creationId xmlns:a16="http://schemas.microsoft.com/office/drawing/2014/main" id="{2A319A01-1506-48E7-8264-66BC09F1C34C}"/>
                </a:ext>
              </a:extLst>
            </p:cNvPr>
            <p:cNvSpPr/>
            <p:nvPr/>
          </p:nvSpPr>
          <p:spPr>
            <a:xfrm>
              <a:off x="5452983" y="5721461"/>
              <a:ext cx="448627" cy="135254"/>
            </a:xfrm>
            <a:custGeom>
              <a:avLst/>
              <a:gdLst>
                <a:gd name="connsiteX0" fmla="*/ 0 w 448627"/>
                <a:gd name="connsiteY0" fmla="*/ 57626 h 135254"/>
                <a:gd name="connsiteX1" fmla="*/ 0 w 448627"/>
                <a:gd name="connsiteY1" fmla="*/ 77628 h 135254"/>
                <a:gd name="connsiteX2" fmla="*/ 57626 w 448627"/>
                <a:gd name="connsiteY2" fmla="*/ 135255 h 135254"/>
                <a:gd name="connsiteX3" fmla="*/ 391001 w 448627"/>
                <a:gd name="connsiteY3" fmla="*/ 135255 h 135254"/>
                <a:gd name="connsiteX4" fmla="*/ 448627 w 448627"/>
                <a:gd name="connsiteY4" fmla="*/ 77628 h 135254"/>
                <a:gd name="connsiteX5" fmla="*/ 448627 w 448627"/>
                <a:gd name="connsiteY5" fmla="*/ 57626 h 135254"/>
                <a:gd name="connsiteX6" fmla="*/ 391001 w 448627"/>
                <a:gd name="connsiteY6" fmla="*/ 0 h 135254"/>
                <a:gd name="connsiteX7" fmla="*/ 57626 w 448627"/>
                <a:gd name="connsiteY7" fmla="*/ 0 h 135254"/>
                <a:gd name="connsiteX8" fmla="*/ 0 w 448627"/>
                <a:gd name="connsiteY8" fmla="*/ 57626 h 13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627" h="135254">
                  <a:moveTo>
                    <a:pt x="0" y="57626"/>
                  </a:moveTo>
                  <a:lnTo>
                    <a:pt x="0" y="77628"/>
                  </a:lnTo>
                  <a:cubicBezTo>
                    <a:pt x="0" y="109347"/>
                    <a:pt x="25908" y="135255"/>
                    <a:pt x="57626" y="135255"/>
                  </a:cubicBezTo>
                  <a:lnTo>
                    <a:pt x="391001" y="135255"/>
                  </a:lnTo>
                  <a:cubicBezTo>
                    <a:pt x="422720" y="135255"/>
                    <a:pt x="448627" y="109347"/>
                    <a:pt x="448627" y="77628"/>
                  </a:cubicBezTo>
                  <a:lnTo>
                    <a:pt x="448627" y="57626"/>
                  </a:lnTo>
                  <a:cubicBezTo>
                    <a:pt x="448627" y="25908"/>
                    <a:pt x="422720" y="0"/>
                    <a:pt x="391001" y="0"/>
                  </a:cubicBezTo>
                  <a:lnTo>
                    <a:pt x="57626" y="0"/>
                  </a:lnTo>
                  <a:cubicBezTo>
                    <a:pt x="26003" y="0"/>
                    <a:pt x="0" y="25908"/>
                    <a:pt x="0" y="57626"/>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83" name="Freeform: Shape 82">
              <a:extLst>
                <a:ext uri="{FF2B5EF4-FFF2-40B4-BE49-F238E27FC236}">
                  <a16:creationId xmlns:a16="http://schemas.microsoft.com/office/drawing/2014/main" id="{ACC3D5D9-F647-479C-8F4E-492E0219DACE}"/>
                </a:ext>
              </a:extLst>
            </p:cNvPr>
            <p:cNvSpPr/>
            <p:nvPr/>
          </p:nvSpPr>
          <p:spPr>
            <a:xfrm>
              <a:off x="4806046" y="4414821"/>
              <a:ext cx="945927" cy="1170241"/>
            </a:xfrm>
            <a:custGeom>
              <a:avLst/>
              <a:gdLst>
                <a:gd name="connsiteX0" fmla="*/ 168402 w 945927"/>
                <a:gd name="connsiteY0" fmla="*/ 288131 h 1170241"/>
                <a:gd name="connsiteX1" fmla="*/ 168402 w 945927"/>
                <a:gd name="connsiteY1" fmla="*/ 520827 h 1170241"/>
                <a:gd name="connsiteX2" fmla="*/ 110776 w 945927"/>
                <a:gd name="connsiteY2" fmla="*/ 578453 h 1170241"/>
                <a:gd name="connsiteX3" fmla="*/ 0 w 945927"/>
                <a:gd name="connsiteY3" fmla="*/ 578453 h 1170241"/>
                <a:gd name="connsiteX4" fmla="*/ 0 w 945927"/>
                <a:gd name="connsiteY4" fmla="*/ 664083 h 1170241"/>
                <a:gd name="connsiteX5" fmla="*/ 0 w 945927"/>
                <a:gd name="connsiteY5" fmla="*/ 665607 h 1170241"/>
                <a:gd name="connsiteX6" fmla="*/ 0 w 945927"/>
                <a:gd name="connsiteY6" fmla="*/ 665607 h 1170241"/>
                <a:gd name="connsiteX7" fmla="*/ 95 w 945927"/>
                <a:gd name="connsiteY7" fmla="*/ 667036 h 1170241"/>
                <a:gd name="connsiteX8" fmla="*/ 95 w 945927"/>
                <a:gd name="connsiteY8" fmla="*/ 667036 h 1170241"/>
                <a:gd name="connsiteX9" fmla="*/ 190 w 945927"/>
                <a:gd name="connsiteY9" fmla="*/ 668465 h 1170241"/>
                <a:gd name="connsiteX10" fmla="*/ 190 w 945927"/>
                <a:gd name="connsiteY10" fmla="*/ 668465 h 1170241"/>
                <a:gd name="connsiteX11" fmla="*/ 286 w 945927"/>
                <a:gd name="connsiteY11" fmla="*/ 669893 h 1170241"/>
                <a:gd name="connsiteX12" fmla="*/ 286 w 945927"/>
                <a:gd name="connsiteY12" fmla="*/ 669893 h 1170241"/>
                <a:gd name="connsiteX13" fmla="*/ 476 w 945927"/>
                <a:gd name="connsiteY13" fmla="*/ 671322 h 1170241"/>
                <a:gd name="connsiteX14" fmla="*/ 476 w 945927"/>
                <a:gd name="connsiteY14" fmla="*/ 671322 h 1170241"/>
                <a:gd name="connsiteX15" fmla="*/ 667 w 945927"/>
                <a:gd name="connsiteY15" fmla="*/ 672751 h 1170241"/>
                <a:gd name="connsiteX16" fmla="*/ 667 w 945927"/>
                <a:gd name="connsiteY16" fmla="*/ 672751 h 1170241"/>
                <a:gd name="connsiteX17" fmla="*/ 29623 w 945927"/>
                <a:gd name="connsiteY17" fmla="*/ 714375 h 1170241"/>
                <a:gd name="connsiteX18" fmla="*/ 30194 w 945927"/>
                <a:gd name="connsiteY18" fmla="*/ 714661 h 1170241"/>
                <a:gd name="connsiteX19" fmla="*/ 30194 w 945927"/>
                <a:gd name="connsiteY19" fmla="*/ 714661 h 1170241"/>
                <a:gd name="connsiteX20" fmla="*/ 31432 w 945927"/>
                <a:gd name="connsiteY20" fmla="*/ 715328 h 1170241"/>
                <a:gd name="connsiteX21" fmla="*/ 31432 w 945927"/>
                <a:gd name="connsiteY21" fmla="*/ 715328 h 1170241"/>
                <a:gd name="connsiteX22" fmla="*/ 32671 w 945927"/>
                <a:gd name="connsiteY22" fmla="*/ 715994 h 1170241"/>
                <a:gd name="connsiteX23" fmla="*/ 32671 w 945927"/>
                <a:gd name="connsiteY23" fmla="*/ 715994 h 1170241"/>
                <a:gd name="connsiteX24" fmla="*/ 33909 w 945927"/>
                <a:gd name="connsiteY24" fmla="*/ 716566 h 1170241"/>
                <a:gd name="connsiteX25" fmla="*/ 33909 w 945927"/>
                <a:gd name="connsiteY25" fmla="*/ 716566 h 1170241"/>
                <a:gd name="connsiteX26" fmla="*/ 35147 w 945927"/>
                <a:gd name="connsiteY26" fmla="*/ 717137 h 1170241"/>
                <a:gd name="connsiteX27" fmla="*/ 35147 w 945927"/>
                <a:gd name="connsiteY27" fmla="*/ 717137 h 1170241"/>
                <a:gd name="connsiteX28" fmla="*/ 36481 w 945927"/>
                <a:gd name="connsiteY28" fmla="*/ 717709 h 1170241"/>
                <a:gd name="connsiteX29" fmla="*/ 36481 w 945927"/>
                <a:gd name="connsiteY29" fmla="*/ 717709 h 1170241"/>
                <a:gd name="connsiteX30" fmla="*/ 37814 w 945927"/>
                <a:gd name="connsiteY30" fmla="*/ 718185 h 1170241"/>
                <a:gd name="connsiteX31" fmla="*/ 37814 w 945927"/>
                <a:gd name="connsiteY31" fmla="*/ 718185 h 1170241"/>
                <a:gd name="connsiteX32" fmla="*/ 39148 w 945927"/>
                <a:gd name="connsiteY32" fmla="*/ 718661 h 1170241"/>
                <a:gd name="connsiteX33" fmla="*/ 39148 w 945927"/>
                <a:gd name="connsiteY33" fmla="*/ 718661 h 1170241"/>
                <a:gd name="connsiteX34" fmla="*/ 39433 w 945927"/>
                <a:gd name="connsiteY34" fmla="*/ 718756 h 1170241"/>
                <a:gd name="connsiteX35" fmla="*/ 41529 w 945927"/>
                <a:gd name="connsiteY35" fmla="*/ 719423 h 1170241"/>
                <a:gd name="connsiteX36" fmla="*/ 41815 w 945927"/>
                <a:gd name="connsiteY36" fmla="*/ 719519 h 1170241"/>
                <a:gd name="connsiteX37" fmla="*/ 41815 w 945927"/>
                <a:gd name="connsiteY37" fmla="*/ 719519 h 1170241"/>
                <a:gd name="connsiteX38" fmla="*/ 43148 w 945927"/>
                <a:gd name="connsiteY38" fmla="*/ 719899 h 1170241"/>
                <a:gd name="connsiteX39" fmla="*/ 43148 w 945927"/>
                <a:gd name="connsiteY39" fmla="*/ 719899 h 1170241"/>
                <a:gd name="connsiteX40" fmla="*/ 44482 w 945927"/>
                <a:gd name="connsiteY40" fmla="*/ 720280 h 1170241"/>
                <a:gd name="connsiteX41" fmla="*/ 44482 w 945927"/>
                <a:gd name="connsiteY41" fmla="*/ 720280 h 1170241"/>
                <a:gd name="connsiteX42" fmla="*/ 45910 w 945927"/>
                <a:gd name="connsiteY42" fmla="*/ 720566 h 1170241"/>
                <a:gd name="connsiteX43" fmla="*/ 45910 w 945927"/>
                <a:gd name="connsiteY43" fmla="*/ 720566 h 1170241"/>
                <a:gd name="connsiteX44" fmla="*/ 47339 w 945927"/>
                <a:gd name="connsiteY44" fmla="*/ 720852 h 1170241"/>
                <a:gd name="connsiteX45" fmla="*/ 47339 w 945927"/>
                <a:gd name="connsiteY45" fmla="*/ 720852 h 1170241"/>
                <a:gd name="connsiteX46" fmla="*/ 47625 w 945927"/>
                <a:gd name="connsiteY46" fmla="*/ 720852 h 1170241"/>
                <a:gd name="connsiteX47" fmla="*/ 50006 w 945927"/>
                <a:gd name="connsiteY47" fmla="*/ 721233 h 1170241"/>
                <a:gd name="connsiteX48" fmla="*/ 50292 w 945927"/>
                <a:gd name="connsiteY48" fmla="*/ 721233 h 1170241"/>
                <a:gd name="connsiteX49" fmla="*/ 50292 w 945927"/>
                <a:gd name="connsiteY49" fmla="*/ 721233 h 1170241"/>
                <a:gd name="connsiteX50" fmla="*/ 51721 w 945927"/>
                <a:gd name="connsiteY50" fmla="*/ 721424 h 1170241"/>
                <a:gd name="connsiteX51" fmla="*/ 51721 w 945927"/>
                <a:gd name="connsiteY51" fmla="*/ 721424 h 1170241"/>
                <a:gd name="connsiteX52" fmla="*/ 53149 w 945927"/>
                <a:gd name="connsiteY52" fmla="*/ 721518 h 1170241"/>
                <a:gd name="connsiteX53" fmla="*/ 53149 w 945927"/>
                <a:gd name="connsiteY53" fmla="*/ 721518 h 1170241"/>
                <a:gd name="connsiteX54" fmla="*/ 54578 w 945927"/>
                <a:gd name="connsiteY54" fmla="*/ 721614 h 1170241"/>
                <a:gd name="connsiteX55" fmla="*/ 54578 w 945927"/>
                <a:gd name="connsiteY55" fmla="*/ 721614 h 1170241"/>
                <a:gd name="connsiteX56" fmla="*/ 55054 w 945927"/>
                <a:gd name="connsiteY56" fmla="*/ 721614 h 1170241"/>
                <a:gd name="connsiteX57" fmla="*/ 58198 w 945927"/>
                <a:gd name="connsiteY57" fmla="*/ 721709 h 1170241"/>
                <a:gd name="connsiteX58" fmla="*/ 77629 w 945927"/>
                <a:gd name="connsiteY58" fmla="*/ 721709 h 1170241"/>
                <a:gd name="connsiteX59" fmla="*/ 84582 w 945927"/>
                <a:gd name="connsiteY59" fmla="*/ 721709 h 1170241"/>
                <a:gd name="connsiteX60" fmla="*/ 165545 w 945927"/>
                <a:gd name="connsiteY60" fmla="*/ 802672 h 1170241"/>
                <a:gd name="connsiteX61" fmla="*/ 165545 w 945927"/>
                <a:gd name="connsiteY61" fmla="*/ 812483 h 1170241"/>
                <a:gd name="connsiteX62" fmla="*/ 165545 w 945927"/>
                <a:gd name="connsiteY62" fmla="*/ 814006 h 1170241"/>
                <a:gd name="connsiteX63" fmla="*/ 165545 w 945927"/>
                <a:gd name="connsiteY63" fmla="*/ 814006 h 1170241"/>
                <a:gd name="connsiteX64" fmla="*/ 165640 w 945927"/>
                <a:gd name="connsiteY64" fmla="*/ 815435 h 1170241"/>
                <a:gd name="connsiteX65" fmla="*/ 165640 w 945927"/>
                <a:gd name="connsiteY65" fmla="*/ 815435 h 1170241"/>
                <a:gd name="connsiteX66" fmla="*/ 165735 w 945927"/>
                <a:gd name="connsiteY66" fmla="*/ 816864 h 1170241"/>
                <a:gd name="connsiteX67" fmla="*/ 165735 w 945927"/>
                <a:gd name="connsiteY67" fmla="*/ 816864 h 1170241"/>
                <a:gd name="connsiteX68" fmla="*/ 165830 w 945927"/>
                <a:gd name="connsiteY68" fmla="*/ 818293 h 1170241"/>
                <a:gd name="connsiteX69" fmla="*/ 165830 w 945927"/>
                <a:gd name="connsiteY69" fmla="*/ 818293 h 1170241"/>
                <a:gd name="connsiteX70" fmla="*/ 166021 w 945927"/>
                <a:gd name="connsiteY70" fmla="*/ 819721 h 1170241"/>
                <a:gd name="connsiteX71" fmla="*/ 166021 w 945927"/>
                <a:gd name="connsiteY71" fmla="*/ 819721 h 1170241"/>
                <a:gd name="connsiteX72" fmla="*/ 166211 w 945927"/>
                <a:gd name="connsiteY72" fmla="*/ 821150 h 1170241"/>
                <a:gd name="connsiteX73" fmla="*/ 166211 w 945927"/>
                <a:gd name="connsiteY73" fmla="*/ 821150 h 1170241"/>
                <a:gd name="connsiteX74" fmla="*/ 166497 w 945927"/>
                <a:gd name="connsiteY74" fmla="*/ 822579 h 1170241"/>
                <a:gd name="connsiteX75" fmla="*/ 166497 w 945927"/>
                <a:gd name="connsiteY75" fmla="*/ 822579 h 1170241"/>
                <a:gd name="connsiteX76" fmla="*/ 166783 w 945927"/>
                <a:gd name="connsiteY76" fmla="*/ 824008 h 1170241"/>
                <a:gd name="connsiteX77" fmla="*/ 166783 w 945927"/>
                <a:gd name="connsiteY77" fmla="*/ 824008 h 1170241"/>
                <a:gd name="connsiteX78" fmla="*/ 167068 w 945927"/>
                <a:gd name="connsiteY78" fmla="*/ 825437 h 1170241"/>
                <a:gd name="connsiteX79" fmla="*/ 167068 w 945927"/>
                <a:gd name="connsiteY79" fmla="*/ 825437 h 1170241"/>
                <a:gd name="connsiteX80" fmla="*/ 167449 w 945927"/>
                <a:gd name="connsiteY80" fmla="*/ 826865 h 1170241"/>
                <a:gd name="connsiteX81" fmla="*/ 167449 w 945927"/>
                <a:gd name="connsiteY81" fmla="*/ 826865 h 1170241"/>
                <a:gd name="connsiteX82" fmla="*/ 167830 w 945927"/>
                <a:gd name="connsiteY82" fmla="*/ 828199 h 1170241"/>
                <a:gd name="connsiteX83" fmla="*/ 167830 w 945927"/>
                <a:gd name="connsiteY83" fmla="*/ 828199 h 1170241"/>
                <a:gd name="connsiteX84" fmla="*/ 168211 w 945927"/>
                <a:gd name="connsiteY84" fmla="*/ 829532 h 1170241"/>
                <a:gd name="connsiteX85" fmla="*/ 168211 w 945927"/>
                <a:gd name="connsiteY85" fmla="*/ 829532 h 1170241"/>
                <a:gd name="connsiteX86" fmla="*/ 168687 w 945927"/>
                <a:gd name="connsiteY86" fmla="*/ 830866 h 1170241"/>
                <a:gd name="connsiteX87" fmla="*/ 168687 w 945927"/>
                <a:gd name="connsiteY87" fmla="*/ 830866 h 1170241"/>
                <a:gd name="connsiteX88" fmla="*/ 169164 w 945927"/>
                <a:gd name="connsiteY88" fmla="*/ 832199 h 1170241"/>
                <a:gd name="connsiteX89" fmla="*/ 169164 w 945927"/>
                <a:gd name="connsiteY89" fmla="*/ 832199 h 1170241"/>
                <a:gd name="connsiteX90" fmla="*/ 169640 w 945927"/>
                <a:gd name="connsiteY90" fmla="*/ 833533 h 1170241"/>
                <a:gd name="connsiteX91" fmla="*/ 169640 w 945927"/>
                <a:gd name="connsiteY91" fmla="*/ 833533 h 1170241"/>
                <a:gd name="connsiteX92" fmla="*/ 170212 w 945927"/>
                <a:gd name="connsiteY92" fmla="*/ 834866 h 1170241"/>
                <a:gd name="connsiteX93" fmla="*/ 170212 w 945927"/>
                <a:gd name="connsiteY93" fmla="*/ 834866 h 1170241"/>
                <a:gd name="connsiteX94" fmla="*/ 170783 w 945927"/>
                <a:gd name="connsiteY94" fmla="*/ 836105 h 1170241"/>
                <a:gd name="connsiteX95" fmla="*/ 170783 w 945927"/>
                <a:gd name="connsiteY95" fmla="*/ 836105 h 1170241"/>
                <a:gd name="connsiteX96" fmla="*/ 171355 w 945927"/>
                <a:gd name="connsiteY96" fmla="*/ 837343 h 1170241"/>
                <a:gd name="connsiteX97" fmla="*/ 171355 w 945927"/>
                <a:gd name="connsiteY97" fmla="*/ 837343 h 1170241"/>
                <a:gd name="connsiteX98" fmla="*/ 172021 w 945927"/>
                <a:gd name="connsiteY98" fmla="*/ 838581 h 1170241"/>
                <a:gd name="connsiteX99" fmla="*/ 172021 w 945927"/>
                <a:gd name="connsiteY99" fmla="*/ 838581 h 1170241"/>
                <a:gd name="connsiteX100" fmla="*/ 172688 w 945927"/>
                <a:gd name="connsiteY100" fmla="*/ 839819 h 1170241"/>
                <a:gd name="connsiteX101" fmla="*/ 172688 w 945927"/>
                <a:gd name="connsiteY101" fmla="*/ 839819 h 1170241"/>
                <a:gd name="connsiteX102" fmla="*/ 173355 w 945927"/>
                <a:gd name="connsiteY102" fmla="*/ 841058 h 1170241"/>
                <a:gd name="connsiteX103" fmla="*/ 173355 w 945927"/>
                <a:gd name="connsiteY103" fmla="*/ 841058 h 1170241"/>
                <a:gd name="connsiteX104" fmla="*/ 174021 w 945927"/>
                <a:gd name="connsiteY104" fmla="*/ 842296 h 1170241"/>
                <a:gd name="connsiteX105" fmla="*/ 174021 w 945927"/>
                <a:gd name="connsiteY105" fmla="*/ 842296 h 1170241"/>
                <a:gd name="connsiteX106" fmla="*/ 174784 w 945927"/>
                <a:gd name="connsiteY106" fmla="*/ 843439 h 1170241"/>
                <a:gd name="connsiteX107" fmla="*/ 174784 w 945927"/>
                <a:gd name="connsiteY107" fmla="*/ 843439 h 1170241"/>
                <a:gd name="connsiteX108" fmla="*/ 175546 w 945927"/>
                <a:gd name="connsiteY108" fmla="*/ 844582 h 1170241"/>
                <a:gd name="connsiteX109" fmla="*/ 175546 w 945927"/>
                <a:gd name="connsiteY109" fmla="*/ 844582 h 1170241"/>
                <a:gd name="connsiteX110" fmla="*/ 176308 w 945927"/>
                <a:gd name="connsiteY110" fmla="*/ 845725 h 1170241"/>
                <a:gd name="connsiteX111" fmla="*/ 176308 w 945927"/>
                <a:gd name="connsiteY111" fmla="*/ 845725 h 1170241"/>
                <a:gd name="connsiteX112" fmla="*/ 177165 w 945927"/>
                <a:gd name="connsiteY112" fmla="*/ 846868 h 1170241"/>
                <a:gd name="connsiteX113" fmla="*/ 177165 w 945927"/>
                <a:gd name="connsiteY113" fmla="*/ 846868 h 1170241"/>
                <a:gd name="connsiteX114" fmla="*/ 178022 w 945927"/>
                <a:gd name="connsiteY114" fmla="*/ 848011 h 1170241"/>
                <a:gd name="connsiteX115" fmla="*/ 178022 w 945927"/>
                <a:gd name="connsiteY115" fmla="*/ 848011 h 1170241"/>
                <a:gd name="connsiteX116" fmla="*/ 178879 w 945927"/>
                <a:gd name="connsiteY116" fmla="*/ 849058 h 1170241"/>
                <a:gd name="connsiteX117" fmla="*/ 178879 w 945927"/>
                <a:gd name="connsiteY117" fmla="*/ 849058 h 1170241"/>
                <a:gd name="connsiteX118" fmla="*/ 179737 w 945927"/>
                <a:gd name="connsiteY118" fmla="*/ 850106 h 1170241"/>
                <a:gd name="connsiteX119" fmla="*/ 179737 w 945927"/>
                <a:gd name="connsiteY119" fmla="*/ 850106 h 1170241"/>
                <a:gd name="connsiteX120" fmla="*/ 180689 w 945927"/>
                <a:gd name="connsiteY120" fmla="*/ 851154 h 1170241"/>
                <a:gd name="connsiteX121" fmla="*/ 180689 w 945927"/>
                <a:gd name="connsiteY121" fmla="*/ 851154 h 1170241"/>
                <a:gd name="connsiteX122" fmla="*/ 181642 w 945927"/>
                <a:gd name="connsiteY122" fmla="*/ 852202 h 1170241"/>
                <a:gd name="connsiteX123" fmla="*/ 181642 w 945927"/>
                <a:gd name="connsiteY123" fmla="*/ 852202 h 1170241"/>
                <a:gd name="connsiteX124" fmla="*/ 182594 w 945927"/>
                <a:gd name="connsiteY124" fmla="*/ 853154 h 1170241"/>
                <a:gd name="connsiteX125" fmla="*/ 182594 w 945927"/>
                <a:gd name="connsiteY125" fmla="*/ 853154 h 1170241"/>
                <a:gd name="connsiteX126" fmla="*/ 183546 w 945927"/>
                <a:gd name="connsiteY126" fmla="*/ 854107 h 1170241"/>
                <a:gd name="connsiteX127" fmla="*/ 183546 w 945927"/>
                <a:gd name="connsiteY127" fmla="*/ 854107 h 1170241"/>
                <a:gd name="connsiteX128" fmla="*/ 184595 w 945927"/>
                <a:gd name="connsiteY128" fmla="*/ 855059 h 1170241"/>
                <a:gd name="connsiteX129" fmla="*/ 184595 w 945927"/>
                <a:gd name="connsiteY129" fmla="*/ 855059 h 1170241"/>
                <a:gd name="connsiteX130" fmla="*/ 185642 w 945927"/>
                <a:gd name="connsiteY130" fmla="*/ 856011 h 1170241"/>
                <a:gd name="connsiteX131" fmla="*/ 185642 w 945927"/>
                <a:gd name="connsiteY131" fmla="*/ 856011 h 1170241"/>
                <a:gd name="connsiteX132" fmla="*/ 186690 w 945927"/>
                <a:gd name="connsiteY132" fmla="*/ 856869 h 1170241"/>
                <a:gd name="connsiteX133" fmla="*/ 186690 w 945927"/>
                <a:gd name="connsiteY133" fmla="*/ 856869 h 1170241"/>
                <a:gd name="connsiteX134" fmla="*/ 187737 w 945927"/>
                <a:gd name="connsiteY134" fmla="*/ 857726 h 1170241"/>
                <a:gd name="connsiteX135" fmla="*/ 187737 w 945927"/>
                <a:gd name="connsiteY135" fmla="*/ 857726 h 1170241"/>
                <a:gd name="connsiteX136" fmla="*/ 188786 w 945927"/>
                <a:gd name="connsiteY136" fmla="*/ 858583 h 1170241"/>
                <a:gd name="connsiteX137" fmla="*/ 188786 w 945927"/>
                <a:gd name="connsiteY137" fmla="*/ 858583 h 1170241"/>
                <a:gd name="connsiteX138" fmla="*/ 189929 w 945927"/>
                <a:gd name="connsiteY138" fmla="*/ 859441 h 1170241"/>
                <a:gd name="connsiteX139" fmla="*/ 189929 w 945927"/>
                <a:gd name="connsiteY139" fmla="*/ 859441 h 1170241"/>
                <a:gd name="connsiteX140" fmla="*/ 191071 w 945927"/>
                <a:gd name="connsiteY140" fmla="*/ 860202 h 1170241"/>
                <a:gd name="connsiteX141" fmla="*/ 191071 w 945927"/>
                <a:gd name="connsiteY141" fmla="*/ 860202 h 1170241"/>
                <a:gd name="connsiteX142" fmla="*/ 192214 w 945927"/>
                <a:gd name="connsiteY142" fmla="*/ 860965 h 1170241"/>
                <a:gd name="connsiteX143" fmla="*/ 192214 w 945927"/>
                <a:gd name="connsiteY143" fmla="*/ 860965 h 1170241"/>
                <a:gd name="connsiteX144" fmla="*/ 193357 w 945927"/>
                <a:gd name="connsiteY144" fmla="*/ 861727 h 1170241"/>
                <a:gd name="connsiteX145" fmla="*/ 193357 w 945927"/>
                <a:gd name="connsiteY145" fmla="*/ 861727 h 1170241"/>
                <a:gd name="connsiteX146" fmla="*/ 194596 w 945927"/>
                <a:gd name="connsiteY146" fmla="*/ 862394 h 1170241"/>
                <a:gd name="connsiteX147" fmla="*/ 194596 w 945927"/>
                <a:gd name="connsiteY147" fmla="*/ 862394 h 1170241"/>
                <a:gd name="connsiteX148" fmla="*/ 195834 w 945927"/>
                <a:gd name="connsiteY148" fmla="*/ 863060 h 1170241"/>
                <a:gd name="connsiteX149" fmla="*/ 195834 w 945927"/>
                <a:gd name="connsiteY149" fmla="*/ 863060 h 1170241"/>
                <a:gd name="connsiteX150" fmla="*/ 197072 w 945927"/>
                <a:gd name="connsiteY150" fmla="*/ 863727 h 1170241"/>
                <a:gd name="connsiteX151" fmla="*/ 197072 w 945927"/>
                <a:gd name="connsiteY151" fmla="*/ 863727 h 1170241"/>
                <a:gd name="connsiteX152" fmla="*/ 198311 w 945927"/>
                <a:gd name="connsiteY152" fmla="*/ 864393 h 1170241"/>
                <a:gd name="connsiteX153" fmla="*/ 198311 w 945927"/>
                <a:gd name="connsiteY153" fmla="*/ 864393 h 1170241"/>
                <a:gd name="connsiteX154" fmla="*/ 199549 w 945927"/>
                <a:gd name="connsiteY154" fmla="*/ 864965 h 1170241"/>
                <a:gd name="connsiteX155" fmla="*/ 199549 w 945927"/>
                <a:gd name="connsiteY155" fmla="*/ 864965 h 1170241"/>
                <a:gd name="connsiteX156" fmla="*/ 200787 w 945927"/>
                <a:gd name="connsiteY156" fmla="*/ 865536 h 1170241"/>
                <a:gd name="connsiteX157" fmla="*/ 200787 w 945927"/>
                <a:gd name="connsiteY157" fmla="*/ 865536 h 1170241"/>
                <a:gd name="connsiteX158" fmla="*/ 202120 w 945927"/>
                <a:gd name="connsiteY158" fmla="*/ 866109 h 1170241"/>
                <a:gd name="connsiteX159" fmla="*/ 202120 w 945927"/>
                <a:gd name="connsiteY159" fmla="*/ 866109 h 1170241"/>
                <a:gd name="connsiteX160" fmla="*/ 203454 w 945927"/>
                <a:gd name="connsiteY160" fmla="*/ 866585 h 1170241"/>
                <a:gd name="connsiteX161" fmla="*/ 203454 w 945927"/>
                <a:gd name="connsiteY161" fmla="*/ 866585 h 1170241"/>
                <a:gd name="connsiteX162" fmla="*/ 204788 w 945927"/>
                <a:gd name="connsiteY162" fmla="*/ 867061 h 1170241"/>
                <a:gd name="connsiteX163" fmla="*/ 204788 w 945927"/>
                <a:gd name="connsiteY163" fmla="*/ 867061 h 1170241"/>
                <a:gd name="connsiteX164" fmla="*/ 206121 w 945927"/>
                <a:gd name="connsiteY164" fmla="*/ 867537 h 1170241"/>
                <a:gd name="connsiteX165" fmla="*/ 206121 w 945927"/>
                <a:gd name="connsiteY165" fmla="*/ 867537 h 1170241"/>
                <a:gd name="connsiteX166" fmla="*/ 207454 w 945927"/>
                <a:gd name="connsiteY166" fmla="*/ 867918 h 1170241"/>
                <a:gd name="connsiteX167" fmla="*/ 207454 w 945927"/>
                <a:gd name="connsiteY167" fmla="*/ 867918 h 1170241"/>
                <a:gd name="connsiteX168" fmla="*/ 208788 w 945927"/>
                <a:gd name="connsiteY168" fmla="*/ 868299 h 1170241"/>
                <a:gd name="connsiteX169" fmla="*/ 208788 w 945927"/>
                <a:gd name="connsiteY169" fmla="*/ 868299 h 1170241"/>
                <a:gd name="connsiteX170" fmla="*/ 210121 w 945927"/>
                <a:gd name="connsiteY170" fmla="*/ 868680 h 1170241"/>
                <a:gd name="connsiteX171" fmla="*/ 210121 w 945927"/>
                <a:gd name="connsiteY171" fmla="*/ 868680 h 1170241"/>
                <a:gd name="connsiteX172" fmla="*/ 211550 w 945927"/>
                <a:gd name="connsiteY172" fmla="*/ 868966 h 1170241"/>
                <a:gd name="connsiteX173" fmla="*/ 211550 w 945927"/>
                <a:gd name="connsiteY173" fmla="*/ 868966 h 1170241"/>
                <a:gd name="connsiteX174" fmla="*/ 212979 w 945927"/>
                <a:gd name="connsiteY174" fmla="*/ 869251 h 1170241"/>
                <a:gd name="connsiteX175" fmla="*/ 212979 w 945927"/>
                <a:gd name="connsiteY175" fmla="*/ 869251 h 1170241"/>
                <a:gd name="connsiteX176" fmla="*/ 214408 w 945927"/>
                <a:gd name="connsiteY176" fmla="*/ 869537 h 1170241"/>
                <a:gd name="connsiteX177" fmla="*/ 214408 w 945927"/>
                <a:gd name="connsiteY177" fmla="*/ 869537 h 1170241"/>
                <a:gd name="connsiteX178" fmla="*/ 215836 w 945927"/>
                <a:gd name="connsiteY178" fmla="*/ 869727 h 1170241"/>
                <a:gd name="connsiteX179" fmla="*/ 215836 w 945927"/>
                <a:gd name="connsiteY179" fmla="*/ 869727 h 1170241"/>
                <a:gd name="connsiteX180" fmla="*/ 217265 w 945927"/>
                <a:gd name="connsiteY180" fmla="*/ 869918 h 1170241"/>
                <a:gd name="connsiteX181" fmla="*/ 217265 w 945927"/>
                <a:gd name="connsiteY181" fmla="*/ 869918 h 1170241"/>
                <a:gd name="connsiteX182" fmla="*/ 218694 w 945927"/>
                <a:gd name="connsiteY182" fmla="*/ 870013 h 1170241"/>
                <a:gd name="connsiteX183" fmla="*/ 218694 w 945927"/>
                <a:gd name="connsiteY183" fmla="*/ 870013 h 1170241"/>
                <a:gd name="connsiteX184" fmla="*/ 220123 w 945927"/>
                <a:gd name="connsiteY184" fmla="*/ 870109 h 1170241"/>
                <a:gd name="connsiteX185" fmla="*/ 220123 w 945927"/>
                <a:gd name="connsiteY185" fmla="*/ 870109 h 1170241"/>
                <a:gd name="connsiteX186" fmla="*/ 220599 w 945927"/>
                <a:gd name="connsiteY186" fmla="*/ 870109 h 1170241"/>
                <a:gd name="connsiteX187" fmla="*/ 223742 w 945927"/>
                <a:gd name="connsiteY187" fmla="*/ 870204 h 1170241"/>
                <a:gd name="connsiteX188" fmla="*/ 236505 w 945927"/>
                <a:gd name="connsiteY188" fmla="*/ 870204 h 1170241"/>
                <a:gd name="connsiteX189" fmla="*/ 251270 w 945927"/>
                <a:gd name="connsiteY189" fmla="*/ 870204 h 1170241"/>
                <a:gd name="connsiteX190" fmla="*/ 332232 w 945927"/>
                <a:gd name="connsiteY190" fmla="*/ 951167 h 1170241"/>
                <a:gd name="connsiteX191" fmla="*/ 332232 w 945927"/>
                <a:gd name="connsiteY191" fmla="*/ 1014508 h 1170241"/>
                <a:gd name="connsiteX192" fmla="*/ 332232 w 945927"/>
                <a:gd name="connsiteY192" fmla="*/ 1109472 h 1170241"/>
                <a:gd name="connsiteX193" fmla="*/ 332232 w 945927"/>
                <a:gd name="connsiteY193" fmla="*/ 1112615 h 1170241"/>
                <a:gd name="connsiteX194" fmla="*/ 389858 w 945927"/>
                <a:gd name="connsiteY194" fmla="*/ 1170242 h 1170241"/>
                <a:gd name="connsiteX195" fmla="*/ 564737 w 945927"/>
                <a:gd name="connsiteY195" fmla="*/ 1170242 h 1170241"/>
                <a:gd name="connsiteX196" fmla="*/ 622363 w 945927"/>
                <a:gd name="connsiteY196" fmla="*/ 1112615 h 1170241"/>
                <a:gd name="connsiteX197" fmla="*/ 622363 w 945927"/>
                <a:gd name="connsiteY197" fmla="*/ 1104519 h 1170241"/>
                <a:gd name="connsiteX198" fmla="*/ 624364 w 945927"/>
                <a:gd name="connsiteY198" fmla="*/ 600646 h 1170241"/>
                <a:gd name="connsiteX199" fmla="*/ 572928 w 945927"/>
                <a:gd name="connsiteY199" fmla="*/ 559403 h 1170241"/>
                <a:gd name="connsiteX200" fmla="*/ 529494 w 945927"/>
                <a:gd name="connsiteY200" fmla="*/ 559403 h 1170241"/>
                <a:gd name="connsiteX201" fmla="*/ 471868 w 945927"/>
                <a:gd name="connsiteY201" fmla="*/ 501777 h 1170241"/>
                <a:gd name="connsiteX202" fmla="*/ 471868 w 945927"/>
                <a:gd name="connsiteY202" fmla="*/ 481774 h 1170241"/>
                <a:gd name="connsiteX203" fmla="*/ 529494 w 945927"/>
                <a:gd name="connsiteY203" fmla="*/ 424148 h 1170241"/>
                <a:gd name="connsiteX204" fmla="*/ 888302 w 945927"/>
                <a:gd name="connsiteY204" fmla="*/ 423100 h 1170241"/>
                <a:gd name="connsiteX205" fmla="*/ 945928 w 945927"/>
                <a:gd name="connsiteY205" fmla="*/ 365474 h 1170241"/>
                <a:gd name="connsiteX206" fmla="*/ 945928 w 945927"/>
                <a:gd name="connsiteY206" fmla="*/ 208312 h 1170241"/>
                <a:gd name="connsiteX207" fmla="*/ 945452 w 945927"/>
                <a:gd name="connsiteY207" fmla="*/ 202025 h 1170241"/>
                <a:gd name="connsiteX208" fmla="*/ 945452 w 945927"/>
                <a:gd name="connsiteY208" fmla="*/ 0 h 1170241"/>
                <a:gd name="connsiteX209" fmla="*/ 857726 w 945927"/>
                <a:gd name="connsiteY209" fmla="*/ 0 h 1170241"/>
                <a:gd name="connsiteX210" fmla="*/ 802577 w 945927"/>
                <a:gd name="connsiteY210" fmla="*/ 41053 h 1170241"/>
                <a:gd name="connsiteX211" fmla="*/ 802577 w 945927"/>
                <a:gd name="connsiteY211" fmla="*/ 83058 h 1170241"/>
                <a:gd name="connsiteX212" fmla="*/ 744950 w 945927"/>
                <a:gd name="connsiteY212" fmla="*/ 140684 h 1170241"/>
                <a:gd name="connsiteX213" fmla="*/ 635508 w 945927"/>
                <a:gd name="connsiteY213" fmla="*/ 140684 h 1170241"/>
                <a:gd name="connsiteX214" fmla="*/ 635508 w 945927"/>
                <a:gd name="connsiteY214" fmla="*/ 230505 h 1170241"/>
                <a:gd name="connsiteX215" fmla="*/ 577882 w 945927"/>
                <a:gd name="connsiteY215" fmla="*/ 288131 h 1170241"/>
                <a:gd name="connsiteX216" fmla="*/ 168402 w 945927"/>
                <a:gd name="connsiteY216" fmla="*/ 288131 h 1170241"/>
                <a:gd name="connsiteX217" fmla="*/ 165640 w 945927"/>
                <a:gd name="connsiteY217" fmla="*/ 812483 h 1170241"/>
                <a:gd name="connsiteX218" fmla="*/ 165640 w 945927"/>
                <a:gd name="connsiteY218" fmla="*/ 812483 h 1170241"/>
                <a:gd name="connsiteX219" fmla="*/ 165640 w 945927"/>
                <a:gd name="connsiteY219" fmla="*/ 812483 h 1170241"/>
                <a:gd name="connsiteX220" fmla="*/ 165640 w 945927"/>
                <a:gd name="connsiteY220" fmla="*/ 812483 h 1170241"/>
                <a:gd name="connsiteX221" fmla="*/ 0 w 945927"/>
                <a:gd name="connsiteY221" fmla="*/ 664083 h 1170241"/>
                <a:gd name="connsiteX222" fmla="*/ 0 w 945927"/>
                <a:gd name="connsiteY222" fmla="*/ 664083 h 1170241"/>
                <a:gd name="connsiteX223" fmla="*/ 0 w 945927"/>
                <a:gd name="connsiteY223" fmla="*/ 664083 h 1170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945927" h="1170241">
                  <a:moveTo>
                    <a:pt x="168402" y="288131"/>
                  </a:moveTo>
                  <a:lnTo>
                    <a:pt x="168402" y="520827"/>
                  </a:lnTo>
                  <a:cubicBezTo>
                    <a:pt x="168402" y="552450"/>
                    <a:pt x="142494" y="578453"/>
                    <a:pt x="110776" y="578453"/>
                  </a:cubicBezTo>
                  <a:lnTo>
                    <a:pt x="0" y="578453"/>
                  </a:lnTo>
                  <a:lnTo>
                    <a:pt x="0" y="664083"/>
                  </a:lnTo>
                  <a:lnTo>
                    <a:pt x="0" y="665607"/>
                  </a:lnTo>
                  <a:lnTo>
                    <a:pt x="0" y="665607"/>
                  </a:lnTo>
                  <a:lnTo>
                    <a:pt x="95" y="667036"/>
                  </a:lnTo>
                  <a:lnTo>
                    <a:pt x="95" y="667036"/>
                  </a:lnTo>
                  <a:lnTo>
                    <a:pt x="190" y="668465"/>
                  </a:lnTo>
                  <a:lnTo>
                    <a:pt x="190" y="668465"/>
                  </a:lnTo>
                  <a:lnTo>
                    <a:pt x="286" y="669893"/>
                  </a:lnTo>
                  <a:lnTo>
                    <a:pt x="286" y="669893"/>
                  </a:lnTo>
                  <a:lnTo>
                    <a:pt x="476" y="671322"/>
                  </a:lnTo>
                  <a:lnTo>
                    <a:pt x="476" y="671322"/>
                  </a:lnTo>
                  <a:lnTo>
                    <a:pt x="667" y="672751"/>
                  </a:lnTo>
                  <a:lnTo>
                    <a:pt x="667" y="672751"/>
                  </a:lnTo>
                  <a:cubicBezTo>
                    <a:pt x="3619" y="690467"/>
                    <a:pt x="14001" y="705421"/>
                    <a:pt x="29623" y="714375"/>
                  </a:cubicBezTo>
                  <a:lnTo>
                    <a:pt x="30194" y="714661"/>
                  </a:lnTo>
                  <a:lnTo>
                    <a:pt x="30194" y="714661"/>
                  </a:lnTo>
                  <a:lnTo>
                    <a:pt x="31432" y="715328"/>
                  </a:lnTo>
                  <a:lnTo>
                    <a:pt x="31432" y="715328"/>
                  </a:lnTo>
                  <a:lnTo>
                    <a:pt x="32671" y="715994"/>
                  </a:lnTo>
                  <a:lnTo>
                    <a:pt x="32671" y="715994"/>
                  </a:lnTo>
                  <a:lnTo>
                    <a:pt x="33909" y="716566"/>
                  </a:lnTo>
                  <a:lnTo>
                    <a:pt x="33909" y="716566"/>
                  </a:lnTo>
                  <a:cubicBezTo>
                    <a:pt x="34290" y="716756"/>
                    <a:pt x="34766" y="716947"/>
                    <a:pt x="35147" y="717137"/>
                  </a:cubicBezTo>
                  <a:lnTo>
                    <a:pt x="35147" y="717137"/>
                  </a:lnTo>
                  <a:lnTo>
                    <a:pt x="36481" y="717709"/>
                  </a:lnTo>
                  <a:lnTo>
                    <a:pt x="36481" y="717709"/>
                  </a:lnTo>
                  <a:lnTo>
                    <a:pt x="37814" y="718185"/>
                  </a:lnTo>
                  <a:lnTo>
                    <a:pt x="37814" y="718185"/>
                  </a:lnTo>
                  <a:lnTo>
                    <a:pt x="39148" y="718661"/>
                  </a:lnTo>
                  <a:lnTo>
                    <a:pt x="39148" y="718661"/>
                  </a:lnTo>
                  <a:lnTo>
                    <a:pt x="39433" y="718756"/>
                  </a:lnTo>
                  <a:cubicBezTo>
                    <a:pt x="40195" y="718947"/>
                    <a:pt x="40767" y="719233"/>
                    <a:pt x="41529" y="719423"/>
                  </a:cubicBezTo>
                  <a:lnTo>
                    <a:pt x="41815" y="719519"/>
                  </a:lnTo>
                  <a:lnTo>
                    <a:pt x="41815" y="719519"/>
                  </a:lnTo>
                  <a:lnTo>
                    <a:pt x="43148" y="719899"/>
                  </a:lnTo>
                  <a:lnTo>
                    <a:pt x="43148" y="719899"/>
                  </a:lnTo>
                  <a:lnTo>
                    <a:pt x="44482" y="720280"/>
                  </a:lnTo>
                  <a:lnTo>
                    <a:pt x="44482" y="720280"/>
                  </a:lnTo>
                  <a:lnTo>
                    <a:pt x="45910" y="720566"/>
                  </a:lnTo>
                  <a:lnTo>
                    <a:pt x="45910" y="720566"/>
                  </a:lnTo>
                  <a:cubicBezTo>
                    <a:pt x="46387" y="720662"/>
                    <a:pt x="46863" y="720757"/>
                    <a:pt x="47339" y="720852"/>
                  </a:cubicBezTo>
                  <a:lnTo>
                    <a:pt x="47339" y="720852"/>
                  </a:lnTo>
                  <a:lnTo>
                    <a:pt x="47625" y="720852"/>
                  </a:lnTo>
                  <a:cubicBezTo>
                    <a:pt x="48482" y="720947"/>
                    <a:pt x="49149" y="721138"/>
                    <a:pt x="50006" y="721233"/>
                  </a:cubicBezTo>
                  <a:lnTo>
                    <a:pt x="50292" y="721233"/>
                  </a:lnTo>
                  <a:lnTo>
                    <a:pt x="50292" y="721233"/>
                  </a:lnTo>
                  <a:lnTo>
                    <a:pt x="51721" y="721424"/>
                  </a:lnTo>
                  <a:lnTo>
                    <a:pt x="51721" y="721424"/>
                  </a:lnTo>
                  <a:lnTo>
                    <a:pt x="53149" y="721518"/>
                  </a:lnTo>
                  <a:lnTo>
                    <a:pt x="53149" y="721518"/>
                  </a:lnTo>
                  <a:lnTo>
                    <a:pt x="54578" y="721614"/>
                  </a:lnTo>
                  <a:lnTo>
                    <a:pt x="54578" y="721614"/>
                  </a:lnTo>
                  <a:lnTo>
                    <a:pt x="55054" y="721614"/>
                  </a:lnTo>
                  <a:cubicBezTo>
                    <a:pt x="56197" y="721614"/>
                    <a:pt x="57055" y="721709"/>
                    <a:pt x="58198" y="721709"/>
                  </a:cubicBezTo>
                  <a:lnTo>
                    <a:pt x="77629" y="721709"/>
                  </a:lnTo>
                  <a:lnTo>
                    <a:pt x="84582" y="721709"/>
                  </a:lnTo>
                  <a:cubicBezTo>
                    <a:pt x="129159" y="721709"/>
                    <a:pt x="165545" y="758095"/>
                    <a:pt x="165545" y="802672"/>
                  </a:cubicBezTo>
                  <a:lnTo>
                    <a:pt x="165545" y="812483"/>
                  </a:lnTo>
                  <a:lnTo>
                    <a:pt x="165545" y="814006"/>
                  </a:lnTo>
                  <a:lnTo>
                    <a:pt x="165545" y="814006"/>
                  </a:lnTo>
                  <a:lnTo>
                    <a:pt x="165640" y="815435"/>
                  </a:lnTo>
                  <a:lnTo>
                    <a:pt x="165640" y="815435"/>
                  </a:lnTo>
                  <a:lnTo>
                    <a:pt x="165735" y="816864"/>
                  </a:lnTo>
                  <a:lnTo>
                    <a:pt x="165735" y="816864"/>
                  </a:lnTo>
                  <a:lnTo>
                    <a:pt x="165830" y="818293"/>
                  </a:lnTo>
                  <a:lnTo>
                    <a:pt x="165830" y="818293"/>
                  </a:lnTo>
                  <a:lnTo>
                    <a:pt x="166021" y="819721"/>
                  </a:lnTo>
                  <a:lnTo>
                    <a:pt x="166021" y="819721"/>
                  </a:lnTo>
                  <a:lnTo>
                    <a:pt x="166211" y="821150"/>
                  </a:lnTo>
                  <a:lnTo>
                    <a:pt x="166211" y="821150"/>
                  </a:lnTo>
                  <a:lnTo>
                    <a:pt x="166497" y="822579"/>
                  </a:lnTo>
                  <a:lnTo>
                    <a:pt x="166497" y="822579"/>
                  </a:lnTo>
                  <a:cubicBezTo>
                    <a:pt x="166592" y="823055"/>
                    <a:pt x="166688" y="823531"/>
                    <a:pt x="166783" y="824008"/>
                  </a:cubicBezTo>
                  <a:lnTo>
                    <a:pt x="166783" y="824008"/>
                  </a:lnTo>
                  <a:lnTo>
                    <a:pt x="167068" y="825437"/>
                  </a:lnTo>
                  <a:lnTo>
                    <a:pt x="167068" y="825437"/>
                  </a:lnTo>
                  <a:lnTo>
                    <a:pt x="167449" y="826865"/>
                  </a:lnTo>
                  <a:lnTo>
                    <a:pt x="167449" y="826865"/>
                  </a:lnTo>
                  <a:lnTo>
                    <a:pt x="167830" y="828199"/>
                  </a:lnTo>
                  <a:lnTo>
                    <a:pt x="167830" y="828199"/>
                  </a:lnTo>
                  <a:lnTo>
                    <a:pt x="168211" y="829532"/>
                  </a:lnTo>
                  <a:lnTo>
                    <a:pt x="168211" y="829532"/>
                  </a:lnTo>
                  <a:lnTo>
                    <a:pt x="168687" y="830866"/>
                  </a:lnTo>
                  <a:lnTo>
                    <a:pt x="168687" y="830866"/>
                  </a:lnTo>
                  <a:lnTo>
                    <a:pt x="169164" y="832199"/>
                  </a:lnTo>
                  <a:lnTo>
                    <a:pt x="169164" y="832199"/>
                  </a:lnTo>
                  <a:lnTo>
                    <a:pt x="169640" y="833533"/>
                  </a:lnTo>
                  <a:lnTo>
                    <a:pt x="169640" y="833533"/>
                  </a:lnTo>
                  <a:lnTo>
                    <a:pt x="170212" y="834866"/>
                  </a:lnTo>
                  <a:lnTo>
                    <a:pt x="170212" y="834866"/>
                  </a:lnTo>
                  <a:lnTo>
                    <a:pt x="170783" y="836105"/>
                  </a:lnTo>
                  <a:lnTo>
                    <a:pt x="170783" y="836105"/>
                  </a:lnTo>
                  <a:lnTo>
                    <a:pt x="171355" y="837343"/>
                  </a:lnTo>
                  <a:lnTo>
                    <a:pt x="171355" y="837343"/>
                  </a:lnTo>
                  <a:lnTo>
                    <a:pt x="172021" y="838581"/>
                  </a:lnTo>
                  <a:lnTo>
                    <a:pt x="172021" y="838581"/>
                  </a:lnTo>
                  <a:cubicBezTo>
                    <a:pt x="172212" y="838962"/>
                    <a:pt x="172402" y="839438"/>
                    <a:pt x="172688" y="839819"/>
                  </a:cubicBezTo>
                  <a:lnTo>
                    <a:pt x="172688" y="839819"/>
                  </a:lnTo>
                  <a:lnTo>
                    <a:pt x="173355" y="841058"/>
                  </a:lnTo>
                  <a:lnTo>
                    <a:pt x="173355" y="841058"/>
                  </a:lnTo>
                  <a:cubicBezTo>
                    <a:pt x="173545" y="841438"/>
                    <a:pt x="173831" y="841819"/>
                    <a:pt x="174021" y="842296"/>
                  </a:cubicBezTo>
                  <a:lnTo>
                    <a:pt x="174021" y="842296"/>
                  </a:lnTo>
                  <a:lnTo>
                    <a:pt x="174784" y="843439"/>
                  </a:lnTo>
                  <a:lnTo>
                    <a:pt x="174784" y="843439"/>
                  </a:lnTo>
                  <a:lnTo>
                    <a:pt x="175546" y="844582"/>
                  </a:lnTo>
                  <a:lnTo>
                    <a:pt x="175546" y="844582"/>
                  </a:lnTo>
                  <a:lnTo>
                    <a:pt x="176308" y="845725"/>
                  </a:lnTo>
                  <a:lnTo>
                    <a:pt x="176308" y="845725"/>
                  </a:lnTo>
                  <a:lnTo>
                    <a:pt x="177165" y="846868"/>
                  </a:lnTo>
                  <a:lnTo>
                    <a:pt x="177165" y="846868"/>
                  </a:lnTo>
                  <a:lnTo>
                    <a:pt x="178022" y="848011"/>
                  </a:lnTo>
                  <a:lnTo>
                    <a:pt x="178022" y="848011"/>
                  </a:lnTo>
                  <a:cubicBezTo>
                    <a:pt x="178308" y="848392"/>
                    <a:pt x="178594" y="848773"/>
                    <a:pt x="178879" y="849058"/>
                  </a:cubicBezTo>
                  <a:lnTo>
                    <a:pt x="178879" y="849058"/>
                  </a:lnTo>
                  <a:lnTo>
                    <a:pt x="179737" y="850106"/>
                  </a:lnTo>
                  <a:lnTo>
                    <a:pt x="179737" y="850106"/>
                  </a:lnTo>
                  <a:lnTo>
                    <a:pt x="180689" y="851154"/>
                  </a:lnTo>
                  <a:lnTo>
                    <a:pt x="180689" y="851154"/>
                  </a:lnTo>
                  <a:lnTo>
                    <a:pt x="181642" y="852202"/>
                  </a:lnTo>
                  <a:lnTo>
                    <a:pt x="181642" y="852202"/>
                  </a:lnTo>
                  <a:lnTo>
                    <a:pt x="182594" y="853154"/>
                  </a:lnTo>
                  <a:lnTo>
                    <a:pt x="182594" y="853154"/>
                  </a:lnTo>
                  <a:lnTo>
                    <a:pt x="183546" y="854107"/>
                  </a:lnTo>
                  <a:lnTo>
                    <a:pt x="183546" y="854107"/>
                  </a:lnTo>
                  <a:lnTo>
                    <a:pt x="184595" y="855059"/>
                  </a:lnTo>
                  <a:lnTo>
                    <a:pt x="184595" y="855059"/>
                  </a:lnTo>
                  <a:lnTo>
                    <a:pt x="185642" y="856011"/>
                  </a:lnTo>
                  <a:lnTo>
                    <a:pt x="185642" y="856011"/>
                  </a:lnTo>
                  <a:lnTo>
                    <a:pt x="186690" y="856869"/>
                  </a:lnTo>
                  <a:lnTo>
                    <a:pt x="186690" y="856869"/>
                  </a:lnTo>
                  <a:cubicBezTo>
                    <a:pt x="187071" y="857155"/>
                    <a:pt x="187452" y="857440"/>
                    <a:pt x="187737" y="857726"/>
                  </a:cubicBezTo>
                  <a:lnTo>
                    <a:pt x="187737" y="857726"/>
                  </a:lnTo>
                  <a:cubicBezTo>
                    <a:pt x="188119" y="858012"/>
                    <a:pt x="188500" y="858298"/>
                    <a:pt x="188786" y="858583"/>
                  </a:cubicBezTo>
                  <a:lnTo>
                    <a:pt x="188786" y="858583"/>
                  </a:lnTo>
                  <a:lnTo>
                    <a:pt x="189929" y="859441"/>
                  </a:lnTo>
                  <a:lnTo>
                    <a:pt x="189929" y="859441"/>
                  </a:lnTo>
                  <a:lnTo>
                    <a:pt x="191071" y="860202"/>
                  </a:lnTo>
                  <a:lnTo>
                    <a:pt x="191071" y="860202"/>
                  </a:lnTo>
                  <a:lnTo>
                    <a:pt x="192214" y="860965"/>
                  </a:lnTo>
                  <a:lnTo>
                    <a:pt x="192214" y="860965"/>
                  </a:lnTo>
                  <a:lnTo>
                    <a:pt x="193357" y="861727"/>
                  </a:lnTo>
                  <a:lnTo>
                    <a:pt x="193357" y="861727"/>
                  </a:lnTo>
                  <a:lnTo>
                    <a:pt x="194596" y="862394"/>
                  </a:lnTo>
                  <a:lnTo>
                    <a:pt x="194596" y="862394"/>
                  </a:lnTo>
                  <a:lnTo>
                    <a:pt x="195834" y="863060"/>
                  </a:lnTo>
                  <a:lnTo>
                    <a:pt x="195834" y="863060"/>
                  </a:lnTo>
                  <a:lnTo>
                    <a:pt x="197072" y="863727"/>
                  </a:lnTo>
                  <a:lnTo>
                    <a:pt x="197072" y="863727"/>
                  </a:lnTo>
                  <a:lnTo>
                    <a:pt x="198311" y="864393"/>
                  </a:lnTo>
                  <a:lnTo>
                    <a:pt x="198311" y="864393"/>
                  </a:lnTo>
                  <a:lnTo>
                    <a:pt x="199549" y="864965"/>
                  </a:lnTo>
                  <a:lnTo>
                    <a:pt x="199549" y="864965"/>
                  </a:lnTo>
                  <a:cubicBezTo>
                    <a:pt x="199930" y="865156"/>
                    <a:pt x="200406" y="865346"/>
                    <a:pt x="200787" y="865536"/>
                  </a:cubicBezTo>
                  <a:lnTo>
                    <a:pt x="200787" y="865536"/>
                  </a:lnTo>
                  <a:lnTo>
                    <a:pt x="202120" y="866109"/>
                  </a:lnTo>
                  <a:lnTo>
                    <a:pt x="202120" y="866109"/>
                  </a:lnTo>
                  <a:lnTo>
                    <a:pt x="203454" y="866585"/>
                  </a:lnTo>
                  <a:lnTo>
                    <a:pt x="203454" y="866585"/>
                  </a:lnTo>
                  <a:lnTo>
                    <a:pt x="204788" y="867061"/>
                  </a:lnTo>
                  <a:lnTo>
                    <a:pt x="204788" y="867061"/>
                  </a:lnTo>
                  <a:lnTo>
                    <a:pt x="206121" y="867537"/>
                  </a:lnTo>
                  <a:lnTo>
                    <a:pt x="206121" y="867537"/>
                  </a:lnTo>
                  <a:lnTo>
                    <a:pt x="207454" y="867918"/>
                  </a:lnTo>
                  <a:lnTo>
                    <a:pt x="207454" y="867918"/>
                  </a:lnTo>
                  <a:lnTo>
                    <a:pt x="208788" y="868299"/>
                  </a:lnTo>
                  <a:lnTo>
                    <a:pt x="208788" y="868299"/>
                  </a:lnTo>
                  <a:lnTo>
                    <a:pt x="210121" y="868680"/>
                  </a:lnTo>
                  <a:lnTo>
                    <a:pt x="210121" y="868680"/>
                  </a:lnTo>
                  <a:lnTo>
                    <a:pt x="211550" y="868966"/>
                  </a:lnTo>
                  <a:lnTo>
                    <a:pt x="211550" y="868966"/>
                  </a:lnTo>
                  <a:cubicBezTo>
                    <a:pt x="212027" y="869061"/>
                    <a:pt x="212503" y="869156"/>
                    <a:pt x="212979" y="869251"/>
                  </a:cubicBezTo>
                  <a:lnTo>
                    <a:pt x="212979" y="869251"/>
                  </a:lnTo>
                  <a:lnTo>
                    <a:pt x="214408" y="869537"/>
                  </a:lnTo>
                  <a:lnTo>
                    <a:pt x="214408" y="869537"/>
                  </a:lnTo>
                  <a:lnTo>
                    <a:pt x="215836" y="869727"/>
                  </a:lnTo>
                  <a:lnTo>
                    <a:pt x="215836" y="869727"/>
                  </a:lnTo>
                  <a:lnTo>
                    <a:pt x="217265" y="869918"/>
                  </a:lnTo>
                  <a:lnTo>
                    <a:pt x="217265" y="869918"/>
                  </a:lnTo>
                  <a:lnTo>
                    <a:pt x="218694" y="870013"/>
                  </a:lnTo>
                  <a:lnTo>
                    <a:pt x="218694" y="870013"/>
                  </a:lnTo>
                  <a:lnTo>
                    <a:pt x="220123" y="870109"/>
                  </a:lnTo>
                  <a:lnTo>
                    <a:pt x="220123" y="870109"/>
                  </a:lnTo>
                  <a:lnTo>
                    <a:pt x="220599" y="870109"/>
                  </a:lnTo>
                  <a:cubicBezTo>
                    <a:pt x="221646" y="870109"/>
                    <a:pt x="222599" y="870204"/>
                    <a:pt x="223742" y="870204"/>
                  </a:cubicBezTo>
                  <a:lnTo>
                    <a:pt x="236505" y="870204"/>
                  </a:lnTo>
                  <a:lnTo>
                    <a:pt x="251270" y="870204"/>
                  </a:lnTo>
                  <a:cubicBezTo>
                    <a:pt x="295846" y="870204"/>
                    <a:pt x="332232" y="906590"/>
                    <a:pt x="332232" y="951167"/>
                  </a:cubicBezTo>
                  <a:lnTo>
                    <a:pt x="332232" y="1014508"/>
                  </a:lnTo>
                  <a:lnTo>
                    <a:pt x="332232" y="1109472"/>
                  </a:lnTo>
                  <a:lnTo>
                    <a:pt x="332232" y="1112615"/>
                  </a:lnTo>
                  <a:cubicBezTo>
                    <a:pt x="332232" y="1144238"/>
                    <a:pt x="358140" y="1170242"/>
                    <a:pt x="389858" y="1170242"/>
                  </a:cubicBezTo>
                  <a:lnTo>
                    <a:pt x="564737" y="1170242"/>
                  </a:lnTo>
                  <a:cubicBezTo>
                    <a:pt x="596455" y="1170242"/>
                    <a:pt x="622363" y="1144333"/>
                    <a:pt x="622363" y="1112615"/>
                  </a:cubicBezTo>
                  <a:lnTo>
                    <a:pt x="622363" y="1104519"/>
                  </a:lnTo>
                  <a:lnTo>
                    <a:pt x="624364" y="600646"/>
                  </a:lnTo>
                  <a:cubicBezTo>
                    <a:pt x="623983" y="579501"/>
                    <a:pt x="613696" y="559403"/>
                    <a:pt x="572928" y="559403"/>
                  </a:cubicBezTo>
                  <a:lnTo>
                    <a:pt x="529494" y="559403"/>
                  </a:lnTo>
                  <a:cubicBezTo>
                    <a:pt x="497777" y="559403"/>
                    <a:pt x="471868" y="533495"/>
                    <a:pt x="471868" y="501777"/>
                  </a:cubicBezTo>
                  <a:lnTo>
                    <a:pt x="471868" y="481774"/>
                  </a:lnTo>
                  <a:cubicBezTo>
                    <a:pt x="471868" y="450056"/>
                    <a:pt x="497777" y="424148"/>
                    <a:pt x="529494" y="424148"/>
                  </a:cubicBezTo>
                  <a:cubicBezTo>
                    <a:pt x="649034" y="424148"/>
                    <a:pt x="767810" y="423100"/>
                    <a:pt x="888302" y="423100"/>
                  </a:cubicBezTo>
                  <a:cubicBezTo>
                    <a:pt x="920019" y="423100"/>
                    <a:pt x="945928" y="397192"/>
                    <a:pt x="945928" y="365474"/>
                  </a:cubicBezTo>
                  <a:lnTo>
                    <a:pt x="945928" y="208312"/>
                  </a:lnTo>
                  <a:cubicBezTo>
                    <a:pt x="945928" y="205359"/>
                    <a:pt x="945928" y="202501"/>
                    <a:pt x="945452" y="202025"/>
                  </a:cubicBezTo>
                  <a:lnTo>
                    <a:pt x="945452" y="0"/>
                  </a:lnTo>
                  <a:lnTo>
                    <a:pt x="857726" y="0"/>
                  </a:lnTo>
                  <a:cubicBezTo>
                    <a:pt x="831818" y="0"/>
                    <a:pt x="809720" y="17431"/>
                    <a:pt x="802577" y="41053"/>
                  </a:cubicBezTo>
                  <a:lnTo>
                    <a:pt x="802577" y="83058"/>
                  </a:lnTo>
                  <a:cubicBezTo>
                    <a:pt x="802577" y="114681"/>
                    <a:pt x="776668" y="140684"/>
                    <a:pt x="744950" y="140684"/>
                  </a:cubicBezTo>
                  <a:lnTo>
                    <a:pt x="635508" y="140684"/>
                  </a:lnTo>
                  <a:lnTo>
                    <a:pt x="635508" y="230505"/>
                  </a:lnTo>
                  <a:cubicBezTo>
                    <a:pt x="635508" y="262128"/>
                    <a:pt x="609600" y="288131"/>
                    <a:pt x="577882" y="288131"/>
                  </a:cubicBezTo>
                  <a:lnTo>
                    <a:pt x="168402" y="288131"/>
                  </a:lnTo>
                  <a:close/>
                  <a:moveTo>
                    <a:pt x="165640" y="812483"/>
                  </a:moveTo>
                  <a:lnTo>
                    <a:pt x="165640" y="812483"/>
                  </a:lnTo>
                  <a:lnTo>
                    <a:pt x="165640" y="812483"/>
                  </a:lnTo>
                  <a:lnTo>
                    <a:pt x="165640" y="812483"/>
                  </a:lnTo>
                  <a:close/>
                  <a:moveTo>
                    <a:pt x="0" y="664083"/>
                  </a:moveTo>
                  <a:lnTo>
                    <a:pt x="0" y="664083"/>
                  </a:lnTo>
                  <a:lnTo>
                    <a:pt x="0" y="664083"/>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0" name="Freeform: Shape 119">
              <a:extLst>
                <a:ext uri="{FF2B5EF4-FFF2-40B4-BE49-F238E27FC236}">
                  <a16:creationId xmlns:a16="http://schemas.microsoft.com/office/drawing/2014/main" id="{22FCF579-D6C2-4B89-B667-A6F686154050}"/>
                </a:ext>
              </a:extLst>
            </p:cNvPr>
            <p:cNvSpPr/>
            <p:nvPr/>
          </p:nvSpPr>
          <p:spPr>
            <a:xfrm>
              <a:off x="5763689" y="4552457"/>
              <a:ext cx="678846" cy="1020508"/>
            </a:xfrm>
            <a:custGeom>
              <a:avLst/>
              <a:gdLst>
                <a:gd name="connsiteX0" fmla="*/ 374332 w 678846"/>
                <a:gd name="connsiteY0" fmla="*/ 1020509 h 1020508"/>
                <a:gd name="connsiteX1" fmla="*/ 678847 w 678846"/>
                <a:gd name="connsiteY1" fmla="*/ 1020509 h 1020508"/>
                <a:gd name="connsiteX2" fmla="*/ 678847 w 678846"/>
                <a:gd name="connsiteY2" fmla="*/ 0 h 1020508"/>
                <a:gd name="connsiteX3" fmla="*/ 544925 w 678846"/>
                <a:gd name="connsiteY3" fmla="*/ 0 h 1020508"/>
                <a:gd name="connsiteX4" fmla="*/ 474916 w 678846"/>
                <a:gd name="connsiteY4" fmla="*/ 70009 h 1020508"/>
                <a:gd name="connsiteX5" fmla="*/ 474916 w 678846"/>
                <a:gd name="connsiteY5" fmla="*/ 153258 h 1020508"/>
                <a:gd name="connsiteX6" fmla="*/ 234410 w 678846"/>
                <a:gd name="connsiteY6" fmla="*/ 153258 h 1020508"/>
                <a:gd name="connsiteX7" fmla="*/ 164402 w 678846"/>
                <a:gd name="connsiteY7" fmla="*/ 223266 h 1020508"/>
                <a:gd name="connsiteX8" fmla="*/ 164402 w 678846"/>
                <a:gd name="connsiteY8" fmla="*/ 284893 h 1020508"/>
                <a:gd name="connsiteX9" fmla="*/ 70009 w 678846"/>
                <a:gd name="connsiteY9" fmla="*/ 284893 h 1020508"/>
                <a:gd name="connsiteX10" fmla="*/ 0 w 678846"/>
                <a:gd name="connsiteY10" fmla="*/ 354902 h 1020508"/>
                <a:gd name="connsiteX11" fmla="*/ 0 w 678846"/>
                <a:gd name="connsiteY11" fmla="*/ 662845 h 1020508"/>
                <a:gd name="connsiteX12" fmla="*/ 70009 w 678846"/>
                <a:gd name="connsiteY12" fmla="*/ 732854 h 1020508"/>
                <a:gd name="connsiteX13" fmla="*/ 122682 w 678846"/>
                <a:gd name="connsiteY13" fmla="*/ 732854 h 1020508"/>
                <a:gd name="connsiteX14" fmla="*/ 164402 w 678846"/>
                <a:gd name="connsiteY14" fmla="*/ 777145 h 1020508"/>
                <a:gd name="connsiteX15" fmla="*/ 164402 w 678846"/>
                <a:gd name="connsiteY15" fmla="*/ 806292 h 1020508"/>
                <a:gd name="connsiteX16" fmla="*/ 234410 w 678846"/>
                <a:gd name="connsiteY16" fmla="*/ 876300 h 1020508"/>
                <a:gd name="connsiteX17" fmla="*/ 316706 w 678846"/>
                <a:gd name="connsiteY17" fmla="*/ 876300 h 1020508"/>
                <a:gd name="connsiteX18" fmla="*/ 316706 w 678846"/>
                <a:gd name="connsiteY18" fmla="*/ 962692 h 1020508"/>
                <a:gd name="connsiteX19" fmla="*/ 374332 w 678846"/>
                <a:gd name="connsiteY19" fmla="*/ 1020509 h 1020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8846" h="1020508">
                  <a:moveTo>
                    <a:pt x="374332" y="1020509"/>
                  </a:moveTo>
                  <a:lnTo>
                    <a:pt x="678847" y="1020509"/>
                  </a:lnTo>
                  <a:lnTo>
                    <a:pt x="678847" y="0"/>
                  </a:lnTo>
                  <a:lnTo>
                    <a:pt x="544925" y="0"/>
                  </a:lnTo>
                  <a:cubicBezTo>
                    <a:pt x="506444" y="0"/>
                    <a:pt x="474916" y="31528"/>
                    <a:pt x="474916" y="70009"/>
                  </a:cubicBezTo>
                  <a:lnTo>
                    <a:pt x="474916" y="153258"/>
                  </a:lnTo>
                  <a:lnTo>
                    <a:pt x="234410" y="153258"/>
                  </a:lnTo>
                  <a:cubicBezTo>
                    <a:pt x="195929" y="153258"/>
                    <a:pt x="164402" y="184785"/>
                    <a:pt x="164402" y="223266"/>
                  </a:cubicBezTo>
                  <a:lnTo>
                    <a:pt x="164402" y="284893"/>
                  </a:lnTo>
                  <a:lnTo>
                    <a:pt x="70009" y="284893"/>
                  </a:lnTo>
                  <a:cubicBezTo>
                    <a:pt x="31528" y="284893"/>
                    <a:pt x="0" y="316421"/>
                    <a:pt x="0" y="354902"/>
                  </a:cubicBezTo>
                  <a:lnTo>
                    <a:pt x="0" y="662845"/>
                  </a:lnTo>
                  <a:cubicBezTo>
                    <a:pt x="0" y="701326"/>
                    <a:pt x="31528" y="732854"/>
                    <a:pt x="70009" y="732854"/>
                  </a:cubicBezTo>
                  <a:lnTo>
                    <a:pt x="122682" y="732854"/>
                  </a:lnTo>
                  <a:cubicBezTo>
                    <a:pt x="149066" y="734854"/>
                    <a:pt x="165545" y="754475"/>
                    <a:pt x="164402" y="777145"/>
                  </a:cubicBezTo>
                  <a:lnTo>
                    <a:pt x="164402" y="806292"/>
                  </a:lnTo>
                  <a:cubicBezTo>
                    <a:pt x="164402" y="844772"/>
                    <a:pt x="195929" y="876300"/>
                    <a:pt x="234410" y="876300"/>
                  </a:cubicBezTo>
                  <a:lnTo>
                    <a:pt x="316706" y="876300"/>
                  </a:lnTo>
                  <a:lnTo>
                    <a:pt x="316706" y="962692"/>
                  </a:lnTo>
                  <a:cubicBezTo>
                    <a:pt x="316706" y="994600"/>
                    <a:pt x="342615" y="1020509"/>
                    <a:pt x="374332" y="102050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1" name="Freeform: Shape 120">
              <a:extLst>
                <a:ext uri="{FF2B5EF4-FFF2-40B4-BE49-F238E27FC236}">
                  <a16:creationId xmlns:a16="http://schemas.microsoft.com/office/drawing/2014/main" id="{1B5151B4-4356-44BA-84DE-1C04644E6D16}"/>
                </a:ext>
              </a:extLst>
            </p:cNvPr>
            <p:cNvSpPr/>
            <p:nvPr/>
          </p:nvSpPr>
          <p:spPr>
            <a:xfrm>
              <a:off x="5282867" y="4139834"/>
              <a:ext cx="864774" cy="563117"/>
            </a:xfrm>
            <a:custGeom>
              <a:avLst/>
              <a:gdLst>
                <a:gd name="connsiteX0" fmla="*/ 0 w 864774"/>
                <a:gd name="connsiteY0" fmla="*/ 208979 h 563117"/>
                <a:gd name="connsiteX1" fmla="*/ 0 w 864774"/>
                <a:gd name="connsiteY1" fmla="*/ 563118 h 563117"/>
                <a:gd name="connsiteX2" fmla="*/ 101251 w 864774"/>
                <a:gd name="connsiteY2" fmla="*/ 563118 h 563117"/>
                <a:gd name="connsiteX3" fmla="*/ 158877 w 864774"/>
                <a:gd name="connsiteY3" fmla="*/ 505492 h 563117"/>
                <a:gd name="connsiteX4" fmla="*/ 158877 w 864774"/>
                <a:gd name="connsiteY4" fmla="*/ 415671 h 563117"/>
                <a:gd name="connsiteX5" fmla="*/ 268319 w 864774"/>
                <a:gd name="connsiteY5" fmla="*/ 415671 h 563117"/>
                <a:gd name="connsiteX6" fmla="*/ 325945 w 864774"/>
                <a:gd name="connsiteY6" fmla="*/ 358045 h 563117"/>
                <a:gd name="connsiteX7" fmla="*/ 325945 w 864774"/>
                <a:gd name="connsiteY7" fmla="*/ 321564 h 563117"/>
                <a:gd name="connsiteX8" fmla="*/ 381095 w 864774"/>
                <a:gd name="connsiteY8" fmla="*/ 280511 h 563117"/>
                <a:gd name="connsiteX9" fmla="*/ 864775 w 864774"/>
                <a:gd name="connsiteY9" fmla="*/ 280416 h 563117"/>
                <a:gd name="connsiteX10" fmla="*/ 864775 w 864774"/>
                <a:gd name="connsiteY10" fmla="*/ 278416 h 563117"/>
                <a:gd name="connsiteX11" fmla="*/ 856679 w 864774"/>
                <a:gd name="connsiteY11" fmla="*/ 278416 h 563117"/>
                <a:gd name="connsiteX12" fmla="*/ 799052 w 864774"/>
                <a:gd name="connsiteY12" fmla="*/ 220789 h 563117"/>
                <a:gd name="connsiteX13" fmla="*/ 799052 w 864774"/>
                <a:gd name="connsiteY13" fmla="*/ 1143 h 563117"/>
                <a:gd name="connsiteX14" fmla="*/ 786575 w 864774"/>
                <a:gd name="connsiteY14" fmla="*/ 0 h 563117"/>
                <a:gd name="connsiteX15" fmla="*/ 453580 w 864774"/>
                <a:gd name="connsiteY15" fmla="*/ 0 h 563117"/>
                <a:gd name="connsiteX16" fmla="*/ 404050 w 864774"/>
                <a:gd name="connsiteY16" fmla="*/ 0 h 563117"/>
                <a:gd name="connsiteX17" fmla="*/ 288703 w 864774"/>
                <a:gd name="connsiteY17" fmla="*/ 0 h 563117"/>
                <a:gd name="connsiteX18" fmla="*/ 218884 w 864774"/>
                <a:gd name="connsiteY18" fmla="*/ 64389 h 563117"/>
                <a:gd name="connsiteX19" fmla="*/ 138113 w 864774"/>
                <a:gd name="connsiteY19" fmla="*/ 138874 h 563117"/>
                <a:gd name="connsiteX20" fmla="*/ 69913 w 864774"/>
                <a:gd name="connsiteY20" fmla="*/ 138874 h 563117"/>
                <a:gd name="connsiteX21" fmla="*/ 0 w 864774"/>
                <a:gd name="connsiteY21" fmla="*/ 208979 h 56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4774" h="563117">
                  <a:moveTo>
                    <a:pt x="0" y="208979"/>
                  </a:moveTo>
                  <a:lnTo>
                    <a:pt x="0" y="563118"/>
                  </a:lnTo>
                  <a:lnTo>
                    <a:pt x="101251" y="563118"/>
                  </a:lnTo>
                  <a:cubicBezTo>
                    <a:pt x="132969" y="563118"/>
                    <a:pt x="158877" y="537210"/>
                    <a:pt x="158877" y="505492"/>
                  </a:cubicBezTo>
                  <a:lnTo>
                    <a:pt x="158877" y="415671"/>
                  </a:lnTo>
                  <a:lnTo>
                    <a:pt x="268319" y="415671"/>
                  </a:lnTo>
                  <a:cubicBezTo>
                    <a:pt x="300038" y="415671"/>
                    <a:pt x="325945" y="389763"/>
                    <a:pt x="325945" y="358045"/>
                  </a:cubicBezTo>
                  <a:lnTo>
                    <a:pt x="325945" y="321564"/>
                  </a:lnTo>
                  <a:cubicBezTo>
                    <a:pt x="333089" y="297847"/>
                    <a:pt x="355187" y="280511"/>
                    <a:pt x="381095" y="280511"/>
                  </a:cubicBezTo>
                  <a:cubicBezTo>
                    <a:pt x="546449" y="280511"/>
                    <a:pt x="390430" y="280416"/>
                    <a:pt x="864775" y="280416"/>
                  </a:cubicBezTo>
                  <a:lnTo>
                    <a:pt x="864775" y="278416"/>
                  </a:lnTo>
                  <a:lnTo>
                    <a:pt x="856679" y="278416"/>
                  </a:lnTo>
                  <a:cubicBezTo>
                    <a:pt x="825055" y="278416"/>
                    <a:pt x="799052" y="252508"/>
                    <a:pt x="799052" y="220789"/>
                  </a:cubicBezTo>
                  <a:lnTo>
                    <a:pt x="799052" y="1143"/>
                  </a:lnTo>
                  <a:cubicBezTo>
                    <a:pt x="795052" y="381"/>
                    <a:pt x="790860" y="0"/>
                    <a:pt x="786575" y="0"/>
                  </a:cubicBezTo>
                  <a:lnTo>
                    <a:pt x="453580" y="0"/>
                  </a:lnTo>
                  <a:lnTo>
                    <a:pt x="404050" y="0"/>
                  </a:lnTo>
                  <a:lnTo>
                    <a:pt x="288703" y="0"/>
                  </a:lnTo>
                  <a:cubicBezTo>
                    <a:pt x="252126" y="0"/>
                    <a:pt x="221742" y="28480"/>
                    <a:pt x="218884" y="64389"/>
                  </a:cubicBezTo>
                  <a:cubicBezTo>
                    <a:pt x="215551" y="106585"/>
                    <a:pt x="180499" y="138874"/>
                    <a:pt x="138113" y="138874"/>
                  </a:cubicBezTo>
                  <a:lnTo>
                    <a:pt x="69913" y="138874"/>
                  </a:lnTo>
                  <a:cubicBezTo>
                    <a:pt x="31528" y="138970"/>
                    <a:pt x="0" y="170497"/>
                    <a:pt x="0" y="20897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2" name="Freeform: Shape 121">
              <a:extLst>
                <a:ext uri="{FF2B5EF4-FFF2-40B4-BE49-F238E27FC236}">
                  <a16:creationId xmlns:a16="http://schemas.microsoft.com/office/drawing/2014/main" id="{2196E3EC-3083-4807-880D-1039E101BB0A}"/>
                </a:ext>
              </a:extLst>
            </p:cNvPr>
            <p:cNvSpPr/>
            <p:nvPr/>
          </p:nvSpPr>
          <p:spPr>
            <a:xfrm>
              <a:off x="4017848" y="3391550"/>
              <a:ext cx="1149861" cy="437387"/>
            </a:xfrm>
            <a:custGeom>
              <a:avLst/>
              <a:gdLst>
                <a:gd name="connsiteX0" fmla="*/ 16292 w 1149861"/>
                <a:gd name="connsiteY0" fmla="*/ 437388 h 437387"/>
                <a:gd name="connsiteX1" fmla="*/ 927834 w 1149861"/>
                <a:gd name="connsiteY1" fmla="*/ 437388 h 437387"/>
                <a:gd name="connsiteX2" fmla="*/ 985460 w 1149861"/>
                <a:gd name="connsiteY2" fmla="*/ 379762 h 437387"/>
                <a:gd name="connsiteX3" fmla="*/ 985460 w 1149861"/>
                <a:gd name="connsiteY3" fmla="*/ 216217 h 437387"/>
                <a:gd name="connsiteX4" fmla="*/ 1066423 w 1149861"/>
                <a:gd name="connsiteY4" fmla="*/ 135255 h 437387"/>
                <a:gd name="connsiteX5" fmla="*/ 1092236 w 1149861"/>
                <a:gd name="connsiteY5" fmla="*/ 135255 h 437387"/>
                <a:gd name="connsiteX6" fmla="*/ 1149862 w 1149861"/>
                <a:gd name="connsiteY6" fmla="*/ 77629 h 437387"/>
                <a:gd name="connsiteX7" fmla="*/ 1149862 w 1149861"/>
                <a:gd name="connsiteY7" fmla="*/ 57626 h 437387"/>
                <a:gd name="connsiteX8" fmla="*/ 1092236 w 1149861"/>
                <a:gd name="connsiteY8" fmla="*/ 0 h 437387"/>
                <a:gd name="connsiteX9" fmla="*/ 927834 w 1149861"/>
                <a:gd name="connsiteY9" fmla="*/ 0 h 437387"/>
                <a:gd name="connsiteX10" fmla="*/ 698662 w 1149861"/>
                <a:gd name="connsiteY10" fmla="*/ 0 h 437387"/>
                <a:gd name="connsiteX11" fmla="*/ 641322 w 1149861"/>
                <a:gd name="connsiteY11" fmla="*/ 71056 h 437387"/>
                <a:gd name="connsiteX12" fmla="*/ 571504 w 1149861"/>
                <a:gd name="connsiteY12" fmla="*/ 135446 h 437387"/>
                <a:gd name="connsiteX13" fmla="*/ 456156 w 1149861"/>
                <a:gd name="connsiteY13" fmla="*/ 135446 h 437387"/>
                <a:gd name="connsiteX14" fmla="*/ 406626 w 1149861"/>
                <a:gd name="connsiteY14" fmla="*/ 135446 h 437387"/>
                <a:gd name="connsiteX15" fmla="*/ 165262 w 1149861"/>
                <a:gd name="connsiteY15" fmla="*/ 135446 h 437387"/>
                <a:gd name="connsiteX16" fmla="*/ 165262 w 1149861"/>
                <a:gd name="connsiteY16" fmla="*/ 232696 h 437387"/>
                <a:gd name="connsiteX17" fmla="*/ 107636 w 1149861"/>
                <a:gd name="connsiteY17" fmla="*/ 290322 h 437387"/>
                <a:gd name="connsiteX18" fmla="*/ 72775 w 1149861"/>
                <a:gd name="connsiteY18" fmla="*/ 290322 h 437387"/>
                <a:gd name="connsiteX19" fmla="*/ 99 w 1149861"/>
                <a:gd name="connsiteY19" fmla="*/ 366998 h 437387"/>
                <a:gd name="connsiteX20" fmla="*/ 99 w 1149861"/>
                <a:gd name="connsiteY20" fmla="*/ 435007 h 437387"/>
                <a:gd name="connsiteX21" fmla="*/ 16292 w 1149861"/>
                <a:gd name="connsiteY21" fmla="*/ 437388 h 4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49861" h="437387">
                  <a:moveTo>
                    <a:pt x="16292" y="437388"/>
                  </a:moveTo>
                  <a:lnTo>
                    <a:pt x="927834" y="437388"/>
                  </a:lnTo>
                  <a:cubicBezTo>
                    <a:pt x="959552" y="437388"/>
                    <a:pt x="985460" y="411480"/>
                    <a:pt x="985460" y="379762"/>
                  </a:cubicBezTo>
                  <a:lnTo>
                    <a:pt x="985460" y="216217"/>
                  </a:lnTo>
                  <a:cubicBezTo>
                    <a:pt x="985460" y="171640"/>
                    <a:pt x="1021846" y="135255"/>
                    <a:pt x="1066423" y="135255"/>
                  </a:cubicBezTo>
                  <a:lnTo>
                    <a:pt x="1092236" y="135255"/>
                  </a:lnTo>
                  <a:cubicBezTo>
                    <a:pt x="1123954" y="135255"/>
                    <a:pt x="1149862" y="109347"/>
                    <a:pt x="1149862" y="77629"/>
                  </a:cubicBezTo>
                  <a:lnTo>
                    <a:pt x="1149862" y="57626"/>
                  </a:lnTo>
                  <a:cubicBezTo>
                    <a:pt x="1149862" y="25908"/>
                    <a:pt x="1123954" y="0"/>
                    <a:pt x="1092236" y="0"/>
                  </a:cubicBezTo>
                  <a:lnTo>
                    <a:pt x="927834" y="0"/>
                  </a:lnTo>
                  <a:lnTo>
                    <a:pt x="698662" y="0"/>
                  </a:lnTo>
                  <a:cubicBezTo>
                    <a:pt x="667420" y="9334"/>
                    <a:pt x="644084" y="36957"/>
                    <a:pt x="641322" y="71056"/>
                  </a:cubicBezTo>
                  <a:cubicBezTo>
                    <a:pt x="638465" y="106966"/>
                    <a:pt x="608175" y="135446"/>
                    <a:pt x="571504" y="135446"/>
                  </a:cubicBezTo>
                  <a:lnTo>
                    <a:pt x="456156" y="135446"/>
                  </a:lnTo>
                  <a:lnTo>
                    <a:pt x="406626" y="135446"/>
                  </a:lnTo>
                  <a:lnTo>
                    <a:pt x="165262" y="135446"/>
                  </a:lnTo>
                  <a:lnTo>
                    <a:pt x="165262" y="232696"/>
                  </a:lnTo>
                  <a:cubicBezTo>
                    <a:pt x="165262" y="264414"/>
                    <a:pt x="139354" y="290322"/>
                    <a:pt x="107636" y="290322"/>
                  </a:cubicBezTo>
                  <a:lnTo>
                    <a:pt x="72775" y="290322"/>
                  </a:lnTo>
                  <a:cubicBezTo>
                    <a:pt x="16482" y="290322"/>
                    <a:pt x="-1520" y="345376"/>
                    <a:pt x="99" y="366998"/>
                  </a:cubicBezTo>
                  <a:lnTo>
                    <a:pt x="99" y="435007"/>
                  </a:lnTo>
                  <a:cubicBezTo>
                    <a:pt x="5338" y="436626"/>
                    <a:pt x="10672" y="437388"/>
                    <a:pt x="16292" y="437388"/>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3" name="Freeform: Shape 122">
              <a:extLst>
                <a:ext uri="{FF2B5EF4-FFF2-40B4-BE49-F238E27FC236}">
                  <a16:creationId xmlns:a16="http://schemas.microsoft.com/office/drawing/2014/main" id="{C6862D5D-B4FD-494B-8DB6-CCE1245FA70B}"/>
                </a:ext>
              </a:extLst>
            </p:cNvPr>
            <p:cNvSpPr/>
            <p:nvPr/>
          </p:nvSpPr>
          <p:spPr>
            <a:xfrm>
              <a:off x="4975781" y="4445015"/>
              <a:ext cx="307848" cy="259556"/>
            </a:xfrm>
            <a:custGeom>
              <a:avLst/>
              <a:gdLst>
                <a:gd name="connsiteX0" fmla="*/ 115157 w 307848"/>
                <a:gd name="connsiteY0" fmla="*/ 0 h 259556"/>
                <a:gd name="connsiteX1" fmla="*/ 0 w 307848"/>
                <a:gd name="connsiteY1" fmla="*/ 114300 h 259556"/>
                <a:gd name="connsiteX2" fmla="*/ 0 w 307848"/>
                <a:gd name="connsiteY2" fmla="*/ 259556 h 259556"/>
                <a:gd name="connsiteX3" fmla="*/ 115157 w 307848"/>
                <a:gd name="connsiteY3" fmla="*/ 259556 h 259556"/>
                <a:gd name="connsiteX4" fmla="*/ 154305 w 307848"/>
                <a:gd name="connsiteY4" fmla="*/ 259556 h 259556"/>
                <a:gd name="connsiteX5" fmla="*/ 307848 w 307848"/>
                <a:gd name="connsiteY5" fmla="*/ 259556 h 259556"/>
                <a:gd name="connsiteX6" fmla="*/ 307848 w 307848"/>
                <a:gd name="connsiteY6" fmla="*/ 0 h 259556"/>
                <a:gd name="connsiteX7" fmla="*/ 115157 w 307848"/>
                <a:gd name="connsiteY7" fmla="*/ 0 h 25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848" h="259556">
                  <a:moveTo>
                    <a:pt x="115157" y="0"/>
                  </a:moveTo>
                  <a:cubicBezTo>
                    <a:pt x="51816" y="0"/>
                    <a:pt x="0" y="51435"/>
                    <a:pt x="0" y="114300"/>
                  </a:cubicBezTo>
                  <a:lnTo>
                    <a:pt x="0" y="259556"/>
                  </a:lnTo>
                  <a:lnTo>
                    <a:pt x="115157" y="259556"/>
                  </a:lnTo>
                  <a:lnTo>
                    <a:pt x="154305" y="259556"/>
                  </a:lnTo>
                  <a:lnTo>
                    <a:pt x="307848" y="259556"/>
                  </a:lnTo>
                  <a:lnTo>
                    <a:pt x="307848" y="0"/>
                  </a:lnTo>
                  <a:lnTo>
                    <a:pt x="115157"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4" name="Freeform: Shape 123">
              <a:extLst>
                <a:ext uri="{FF2B5EF4-FFF2-40B4-BE49-F238E27FC236}">
                  <a16:creationId xmlns:a16="http://schemas.microsoft.com/office/drawing/2014/main" id="{BDEF878B-2EEC-44BB-BEB4-3E3EBB217931}"/>
                </a:ext>
              </a:extLst>
            </p:cNvPr>
            <p:cNvSpPr/>
            <p:nvPr/>
          </p:nvSpPr>
          <p:spPr>
            <a:xfrm>
              <a:off x="4180063" y="3970003"/>
              <a:ext cx="470820" cy="419195"/>
            </a:xfrm>
            <a:custGeom>
              <a:avLst/>
              <a:gdLst>
                <a:gd name="connsiteX0" fmla="*/ 57626 w 470820"/>
                <a:gd name="connsiteY0" fmla="*/ 571 h 419195"/>
                <a:gd name="connsiteX1" fmla="*/ 0 w 470820"/>
                <a:gd name="connsiteY1" fmla="*/ 58198 h 419195"/>
                <a:gd name="connsiteX2" fmla="*/ 0 w 470820"/>
                <a:gd name="connsiteY2" fmla="*/ 78200 h 419195"/>
                <a:gd name="connsiteX3" fmla="*/ 57626 w 470820"/>
                <a:gd name="connsiteY3" fmla="*/ 135827 h 419195"/>
                <a:gd name="connsiteX4" fmla="*/ 72771 w 470820"/>
                <a:gd name="connsiteY4" fmla="*/ 135827 h 419195"/>
                <a:gd name="connsiteX5" fmla="*/ 155353 w 470820"/>
                <a:gd name="connsiteY5" fmla="*/ 205073 h 419195"/>
                <a:gd name="connsiteX6" fmla="*/ 157448 w 470820"/>
                <a:gd name="connsiteY6" fmla="*/ 319945 h 419195"/>
                <a:gd name="connsiteX7" fmla="*/ 158877 w 470820"/>
                <a:gd name="connsiteY7" fmla="*/ 325946 h 419195"/>
                <a:gd name="connsiteX8" fmla="*/ 158877 w 470820"/>
                <a:gd name="connsiteY8" fmla="*/ 347853 h 419195"/>
                <a:gd name="connsiteX9" fmla="*/ 230219 w 470820"/>
                <a:gd name="connsiteY9" fmla="*/ 419195 h 419195"/>
                <a:gd name="connsiteX10" fmla="*/ 293275 w 470820"/>
                <a:gd name="connsiteY10" fmla="*/ 419195 h 419195"/>
                <a:gd name="connsiteX11" fmla="*/ 293275 w 470820"/>
                <a:gd name="connsiteY11" fmla="*/ 418338 h 419195"/>
                <a:gd name="connsiteX12" fmla="*/ 382714 w 470820"/>
                <a:gd name="connsiteY12" fmla="*/ 418338 h 419195"/>
                <a:gd name="connsiteX13" fmla="*/ 470821 w 470820"/>
                <a:gd name="connsiteY13" fmla="*/ 330232 h 419195"/>
                <a:gd name="connsiteX14" fmla="*/ 470821 w 470820"/>
                <a:gd name="connsiteY14" fmla="*/ 0 h 419195"/>
                <a:gd name="connsiteX15" fmla="*/ 57626 w 470820"/>
                <a:gd name="connsiteY15" fmla="*/ 571 h 41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0820" h="419195">
                  <a:moveTo>
                    <a:pt x="57626" y="571"/>
                  </a:moveTo>
                  <a:cubicBezTo>
                    <a:pt x="25908" y="571"/>
                    <a:pt x="0" y="26479"/>
                    <a:pt x="0" y="58198"/>
                  </a:cubicBezTo>
                  <a:lnTo>
                    <a:pt x="0" y="78200"/>
                  </a:lnTo>
                  <a:cubicBezTo>
                    <a:pt x="0" y="109919"/>
                    <a:pt x="25908" y="135827"/>
                    <a:pt x="57626" y="135827"/>
                  </a:cubicBezTo>
                  <a:lnTo>
                    <a:pt x="72771" y="135827"/>
                  </a:lnTo>
                  <a:cubicBezTo>
                    <a:pt x="88011" y="136303"/>
                    <a:pt x="154114" y="133160"/>
                    <a:pt x="155353" y="205073"/>
                  </a:cubicBezTo>
                  <a:lnTo>
                    <a:pt x="157448" y="319945"/>
                  </a:lnTo>
                  <a:cubicBezTo>
                    <a:pt x="158020" y="321850"/>
                    <a:pt x="158496" y="323850"/>
                    <a:pt x="158877" y="325946"/>
                  </a:cubicBezTo>
                  <a:lnTo>
                    <a:pt x="158877" y="347853"/>
                  </a:lnTo>
                  <a:cubicBezTo>
                    <a:pt x="158877" y="387096"/>
                    <a:pt x="190976" y="419195"/>
                    <a:pt x="230219" y="419195"/>
                  </a:cubicBezTo>
                  <a:lnTo>
                    <a:pt x="293275" y="419195"/>
                  </a:lnTo>
                  <a:lnTo>
                    <a:pt x="293275" y="418338"/>
                  </a:lnTo>
                  <a:lnTo>
                    <a:pt x="382714" y="418338"/>
                  </a:lnTo>
                  <a:cubicBezTo>
                    <a:pt x="431197" y="418338"/>
                    <a:pt x="470821" y="378714"/>
                    <a:pt x="470821" y="330232"/>
                  </a:cubicBezTo>
                  <a:lnTo>
                    <a:pt x="470821" y="0"/>
                  </a:lnTo>
                  <a:lnTo>
                    <a:pt x="57626" y="571"/>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5" name="Freeform: Shape 124">
              <a:extLst>
                <a:ext uri="{FF2B5EF4-FFF2-40B4-BE49-F238E27FC236}">
                  <a16:creationId xmlns:a16="http://schemas.microsoft.com/office/drawing/2014/main" id="{015E406B-7ED7-4D8F-8453-9FB621679AD5}"/>
                </a:ext>
              </a:extLst>
            </p:cNvPr>
            <p:cNvSpPr/>
            <p:nvPr/>
          </p:nvSpPr>
          <p:spPr>
            <a:xfrm>
              <a:off x="5003118" y="3381263"/>
              <a:ext cx="1432559" cy="951547"/>
            </a:xfrm>
            <a:custGeom>
              <a:avLst/>
              <a:gdLst>
                <a:gd name="connsiteX0" fmla="*/ 1331309 w 1432559"/>
                <a:gd name="connsiteY0" fmla="*/ 122872 h 951547"/>
                <a:gd name="connsiteX1" fmla="*/ 1217009 w 1432559"/>
                <a:gd name="connsiteY1" fmla="*/ 8572 h 951547"/>
                <a:gd name="connsiteX2" fmla="*/ 1217009 w 1432559"/>
                <a:gd name="connsiteY2" fmla="*/ 0 h 951547"/>
                <a:gd name="connsiteX3" fmla="*/ 508921 w 1432559"/>
                <a:gd name="connsiteY3" fmla="*/ 0 h 951547"/>
                <a:gd name="connsiteX4" fmla="*/ 459391 w 1432559"/>
                <a:gd name="connsiteY4" fmla="*/ 0 h 951547"/>
                <a:gd name="connsiteX5" fmla="*/ 344043 w 1432559"/>
                <a:gd name="connsiteY5" fmla="*/ 0 h 951547"/>
                <a:gd name="connsiteX6" fmla="*/ 274225 w 1432559"/>
                <a:gd name="connsiteY6" fmla="*/ 64389 h 951547"/>
                <a:gd name="connsiteX7" fmla="*/ 193453 w 1432559"/>
                <a:gd name="connsiteY7" fmla="*/ 138875 h 951547"/>
                <a:gd name="connsiteX8" fmla="*/ 70009 w 1432559"/>
                <a:gd name="connsiteY8" fmla="*/ 138875 h 951547"/>
                <a:gd name="connsiteX9" fmla="*/ 0 w 1432559"/>
                <a:gd name="connsiteY9" fmla="*/ 208883 h 951547"/>
                <a:gd name="connsiteX10" fmla="*/ 0 w 1432559"/>
                <a:gd name="connsiteY10" fmla="*/ 447008 h 951547"/>
                <a:gd name="connsiteX11" fmla="*/ 222980 w 1432559"/>
                <a:gd name="connsiteY11" fmla="*/ 447008 h 951547"/>
                <a:gd name="connsiteX12" fmla="*/ 281749 w 1432559"/>
                <a:gd name="connsiteY12" fmla="*/ 505778 h 951547"/>
                <a:gd name="connsiteX13" fmla="*/ 281749 w 1432559"/>
                <a:gd name="connsiteY13" fmla="*/ 542258 h 951547"/>
                <a:gd name="connsiteX14" fmla="*/ 281749 w 1432559"/>
                <a:gd name="connsiteY14" fmla="*/ 951547 h 951547"/>
                <a:gd name="connsiteX15" fmla="*/ 349853 w 1432559"/>
                <a:gd name="connsiteY15" fmla="*/ 897446 h 951547"/>
                <a:gd name="connsiteX16" fmla="*/ 418052 w 1432559"/>
                <a:gd name="connsiteY16" fmla="*/ 897446 h 951547"/>
                <a:gd name="connsiteX17" fmla="*/ 498824 w 1432559"/>
                <a:gd name="connsiteY17" fmla="*/ 822960 h 951547"/>
                <a:gd name="connsiteX18" fmla="*/ 568643 w 1432559"/>
                <a:gd name="connsiteY18" fmla="*/ 758571 h 951547"/>
                <a:gd name="connsiteX19" fmla="*/ 683990 w 1432559"/>
                <a:gd name="connsiteY19" fmla="*/ 758571 h 951547"/>
                <a:gd name="connsiteX20" fmla="*/ 733520 w 1432559"/>
                <a:gd name="connsiteY20" fmla="*/ 758571 h 951547"/>
                <a:gd name="connsiteX21" fmla="*/ 1066514 w 1432559"/>
                <a:gd name="connsiteY21" fmla="*/ 758571 h 951547"/>
                <a:gd name="connsiteX22" fmla="*/ 1078992 w 1432559"/>
                <a:gd name="connsiteY22" fmla="*/ 759714 h 951547"/>
                <a:gd name="connsiteX23" fmla="*/ 1078992 w 1432559"/>
                <a:gd name="connsiteY23" fmla="*/ 617506 h 951547"/>
                <a:gd name="connsiteX24" fmla="*/ 1136618 w 1432559"/>
                <a:gd name="connsiteY24" fmla="*/ 559880 h 951547"/>
                <a:gd name="connsiteX25" fmla="*/ 1156621 w 1432559"/>
                <a:gd name="connsiteY25" fmla="*/ 559880 h 951547"/>
                <a:gd name="connsiteX26" fmla="*/ 1158335 w 1432559"/>
                <a:gd name="connsiteY26" fmla="*/ 559880 h 951547"/>
                <a:gd name="connsiteX27" fmla="*/ 1209199 w 1432559"/>
                <a:gd name="connsiteY27" fmla="*/ 559880 h 951547"/>
                <a:gd name="connsiteX28" fmla="*/ 1266825 w 1432559"/>
                <a:gd name="connsiteY28" fmla="*/ 502253 h 951547"/>
                <a:gd name="connsiteX29" fmla="*/ 1266825 w 1432559"/>
                <a:gd name="connsiteY29" fmla="*/ 425768 h 951547"/>
                <a:gd name="connsiteX30" fmla="*/ 1349121 w 1432559"/>
                <a:gd name="connsiteY30" fmla="*/ 425768 h 951547"/>
                <a:gd name="connsiteX31" fmla="*/ 1432560 w 1432559"/>
                <a:gd name="connsiteY31" fmla="*/ 342329 h 951547"/>
                <a:gd name="connsiteX32" fmla="*/ 1432560 w 1432559"/>
                <a:gd name="connsiteY32" fmla="*/ 122777 h 951547"/>
                <a:gd name="connsiteX33" fmla="*/ 1331309 w 1432559"/>
                <a:gd name="connsiteY33" fmla="*/ 122777 h 95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32559" h="951547">
                  <a:moveTo>
                    <a:pt x="1331309" y="122872"/>
                  </a:moveTo>
                  <a:cubicBezTo>
                    <a:pt x="1268444" y="122872"/>
                    <a:pt x="1217009" y="71438"/>
                    <a:pt x="1217009" y="8572"/>
                  </a:cubicBezTo>
                  <a:lnTo>
                    <a:pt x="1217009" y="0"/>
                  </a:lnTo>
                  <a:lnTo>
                    <a:pt x="508921" y="0"/>
                  </a:lnTo>
                  <a:lnTo>
                    <a:pt x="459391" y="0"/>
                  </a:lnTo>
                  <a:lnTo>
                    <a:pt x="344043" y="0"/>
                  </a:lnTo>
                  <a:cubicBezTo>
                    <a:pt x="307467" y="0"/>
                    <a:pt x="277082" y="28480"/>
                    <a:pt x="274225" y="64389"/>
                  </a:cubicBezTo>
                  <a:cubicBezTo>
                    <a:pt x="270891" y="106585"/>
                    <a:pt x="235839" y="138875"/>
                    <a:pt x="193453" y="138875"/>
                  </a:cubicBezTo>
                  <a:lnTo>
                    <a:pt x="70009" y="138875"/>
                  </a:lnTo>
                  <a:cubicBezTo>
                    <a:pt x="31528" y="138875"/>
                    <a:pt x="0" y="170497"/>
                    <a:pt x="0" y="208883"/>
                  </a:cubicBezTo>
                  <a:lnTo>
                    <a:pt x="0" y="447008"/>
                  </a:lnTo>
                  <a:lnTo>
                    <a:pt x="222980" y="447008"/>
                  </a:lnTo>
                  <a:cubicBezTo>
                    <a:pt x="255270" y="447008"/>
                    <a:pt x="281749" y="473488"/>
                    <a:pt x="281749" y="505778"/>
                  </a:cubicBezTo>
                  <a:lnTo>
                    <a:pt x="281749" y="542258"/>
                  </a:lnTo>
                  <a:lnTo>
                    <a:pt x="281749" y="951547"/>
                  </a:lnTo>
                  <a:cubicBezTo>
                    <a:pt x="288988" y="920687"/>
                    <a:pt x="316896" y="897446"/>
                    <a:pt x="349853" y="897446"/>
                  </a:cubicBezTo>
                  <a:lnTo>
                    <a:pt x="418052" y="897446"/>
                  </a:lnTo>
                  <a:cubicBezTo>
                    <a:pt x="460343" y="897446"/>
                    <a:pt x="495395" y="865156"/>
                    <a:pt x="498824" y="822960"/>
                  </a:cubicBezTo>
                  <a:cubicBezTo>
                    <a:pt x="501682" y="787051"/>
                    <a:pt x="532066" y="758571"/>
                    <a:pt x="568643" y="758571"/>
                  </a:cubicBezTo>
                  <a:lnTo>
                    <a:pt x="683990" y="758571"/>
                  </a:lnTo>
                  <a:lnTo>
                    <a:pt x="733520" y="758571"/>
                  </a:lnTo>
                  <a:lnTo>
                    <a:pt x="1066514" y="758571"/>
                  </a:lnTo>
                  <a:cubicBezTo>
                    <a:pt x="1070800" y="758571"/>
                    <a:pt x="1074896" y="758952"/>
                    <a:pt x="1078992" y="759714"/>
                  </a:cubicBezTo>
                  <a:lnTo>
                    <a:pt x="1078992" y="617506"/>
                  </a:lnTo>
                  <a:cubicBezTo>
                    <a:pt x="1078992" y="585788"/>
                    <a:pt x="1104900" y="559880"/>
                    <a:pt x="1136618" y="559880"/>
                  </a:cubicBezTo>
                  <a:lnTo>
                    <a:pt x="1156621" y="559880"/>
                  </a:lnTo>
                  <a:cubicBezTo>
                    <a:pt x="1157192" y="559880"/>
                    <a:pt x="1157764" y="559880"/>
                    <a:pt x="1158335" y="559880"/>
                  </a:cubicBezTo>
                  <a:lnTo>
                    <a:pt x="1209199" y="559880"/>
                  </a:lnTo>
                  <a:cubicBezTo>
                    <a:pt x="1240917" y="559880"/>
                    <a:pt x="1266825" y="533972"/>
                    <a:pt x="1266825" y="502253"/>
                  </a:cubicBezTo>
                  <a:lnTo>
                    <a:pt x="1266825" y="425768"/>
                  </a:lnTo>
                  <a:lnTo>
                    <a:pt x="1349121" y="425768"/>
                  </a:lnTo>
                  <a:cubicBezTo>
                    <a:pt x="1395031" y="425768"/>
                    <a:pt x="1432560" y="388239"/>
                    <a:pt x="1432560" y="342329"/>
                  </a:cubicBezTo>
                  <a:lnTo>
                    <a:pt x="1432560" y="122777"/>
                  </a:lnTo>
                  <a:lnTo>
                    <a:pt x="1331309" y="122777"/>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6" name="Freeform: Shape 125">
              <a:extLst>
                <a:ext uri="{FF2B5EF4-FFF2-40B4-BE49-F238E27FC236}">
                  <a16:creationId xmlns:a16="http://schemas.microsoft.com/office/drawing/2014/main" id="{FDA9CE58-0B13-4CCA-AEB4-660DF867DAE3}"/>
                </a:ext>
              </a:extLst>
            </p:cNvPr>
            <p:cNvSpPr/>
            <p:nvPr/>
          </p:nvSpPr>
          <p:spPr>
            <a:xfrm>
              <a:off x="3245469" y="381555"/>
              <a:ext cx="1149858" cy="1834229"/>
            </a:xfrm>
            <a:custGeom>
              <a:avLst/>
              <a:gdLst>
                <a:gd name="connsiteX0" fmla="*/ 935450 w 1149858"/>
                <a:gd name="connsiteY0" fmla="*/ 0 h 1834229"/>
                <a:gd name="connsiteX1" fmla="*/ 644367 w 1149858"/>
                <a:gd name="connsiteY1" fmla="*/ 0 h 1834229"/>
                <a:gd name="connsiteX2" fmla="*/ 436912 w 1149858"/>
                <a:gd name="connsiteY2" fmla="*/ 0 h 1834229"/>
                <a:gd name="connsiteX3" fmla="*/ 340043 w 1149858"/>
                <a:gd name="connsiteY3" fmla="*/ 96869 h 1834229"/>
                <a:gd name="connsiteX4" fmla="*/ 340043 w 1149858"/>
                <a:gd name="connsiteY4" fmla="*/ 393764 h 1834229"/>
                <a:gd name="connsiteX5" fmla="*/ 98774 w 1149858"/>
                <a:gd name="connsiteY5" fmla="*/ 393764 h 1834229"/>
                <a:gd name="connsiteX6" fmla="*/ 1905 w 1149858"/>
                <a:gd name="connsiteY6" fmla="*/ 490633 h 1834229"/>
                <a:gd name="connsiteX7" fmla="*/ 1905 w 1149858"/>
                <a:gd name="connsiteY7" fmla="*/ 659606 h 1834229"/>
                <a:gd name="connsiteX8" fmla="*/ 0 w 1149858"/>
                <a:gd name="connsiteY8" fmla="*/ 659892 h 1834229"/>
                <a:gd name="connsiteX9" fmla="*/ 0 w 1149858"/>
                <a:gd name="connsiteY9" fmla="*/ 916305 h 1834229"/>
                <a:gd name="connsiteX10" fmla="*/ 0 w 1149858"/>
                <a:gd name="connsiteY10" fmla="*/ 998410 h 1834229"/>
                <a:gd name="connsiteX11" fmla="*/ 0 w 1149858"/>
                <a:gd name="connsiteY11" fmla="*/ 1315593 h 1834229"/>
                <a:gd name="connsiteX12" fmla="*/ 78486 w 1149858"/>
                <a:gd name="connsiteY12" fmla="*/ 1398842 h 1834229"/>
                <a:gd name="connsiteX13" fmla="*/ 154686 w 1149858"/>
                <a:gd name="connsiteY13" fmla="*/ 1479709 h 1834229"/>
                <a:gd name="connsiteX14" fmla="*/ 154686 w 1149858"/>
                <a:gd name="connsiteY14" fmla="*/ 1601343 h 1834229"/>
                <a:gd name="connsiteX15" fmla="*/ 234506 w 1149858"/>
                <a:gd name="connsiteY15" fmla="*/ 1684687 h 1834229"/>
                <a:gd name="connsiteX16" fmla="*/ 312039 w 1149858"/>
                <a:gd name="connsiteY16" fmla="*/ 1765649 h 1834229"/>
                <a:gd name="connsiteX17" fmla="*/ 312039 w 1149858"/>
                <a:gd name="connsiteY17" fmla="*/ 1776603 h 1834229"/>
                <a:gd name="connsiteX18" fmla="*/ 369665 w 1149858"/>
                <a:gd name="connsiteY18" fmla="*/ 1834229 h 1834229"/>
                <a:gd name="connsiteX19" fmla="*/ 389668 w 1149858"/>
                <a:gd name="connsiteY19" fmla="*/ 1834229 h 1834229"/>
                <a:gd name="connsiteX20" fmla="*/ 447294 w 1149858"/>
                <a:gd name="connsiteY20" fmla="*/ 1776603 h 1834229"/>
                <a:gd name="connsiteX21" fmla="*/ 447294 w 1149858"/>
                <a:gd name="connsiteY21" fmla="*/ 1765745 h 1834229"/>
                <a:gd name="connsiteX22" fmla="*/ 528257 w 1149858"/>
                <a:gd name="connsiteY22" fmla="*/ 1684782 h 1834229"/>
                <a:gd name="connsiteX23" fmla="*/ 681323 w 1149858"/>
                <a:gd name="connsiteY23" fmla="*/ 1684782 h 1834229"/>
                <a:gd name="connsiteX24" fmla="*/ 764762 w 1149858"/>
                <a:gd name="connsiteY24" fmla="*/ 1601343 h 1834229"/>
                <a:gd name="connsiteX25" fmla="*/ 764762 w 1149858"/>
                <a:gd name="connsiteY25" fmla="*/ 1348835 h 1834229"/>
                <a:gd name="connsiteX26" fmla="*/ 681323 w 1149858"/>
                <a:gd name="connsiteY26" fmla="*/ 1265396 h 1834229"/>
                <a:gd name="connsiteX27" fmla="*/ 602171 w 1149858"/>
                <a:gd name="connsiteY27" fmla="*/ 1186910 h 1834229"/>
                <a:gd name="connsiteX28" fmla="*/ 683133 w 1149858"/>
                <a:gd name="connsiteY28" fmla="*/ 1105948 h 1834229"/>
                <a:gd name="connsiteX29" fmla="*/ 860870 w 1149858"/>
                <a:gd name="connsiteY29" fmla="*/ 1105948 h 1834229"/>
                <a:gd name="connsiteX30" fmla="*/ 918496 w 1149858"/>
                <a:gd name="connsiteY30" fmla="*/ 1048322 h 1834229"/>
                <a:gd name="connsiteX31" fmla="*/ 918496 w 1149858"/>
                <a:gd name="connsiteY31" fmla="*/ 1028319 h 1834229"/>
                <a:gd name="connsiteX32" fmla="*/ 860870 w 1149858"/>
                <a:gd name="connsiteY32" fmla="*/ 970693 h 1834229"/>
                <a:gd name="connsiteX33" fmla="*/ 845725 w 1149858"/>
                <a:gd name="connsiteY33" fmla="*/ 970693 h 1834229"/>
                <a:gd name="connsiteX34" fmla="*/ 764762 w 1149858"/>
                <a:gd name="connsiteY34" fmla="*/ 889730 h 1834229"/>
                <a:gd name="connsiteX35" fmla="*/ 764762 w 1149858"/>
                <a:gd name="connsiteY35" fmla="*/ 759047 h 1834229"/>
                <a:gd name="connsiteX36" fmla="*/ 763905 w 1149858"/>
                <a:gd name="connsiteY36" fmla="*/ 730282 h 1834229"/>
                <a:gd name="connsiteX37" fmla="*/ 798862 w 1149858"/>
                <a:gd name="connsiteY37" fmla="*/ 730282 h 1834229"/>
                <a:gd name="connsiteX38" fmla="*/ 935355 w 1149858"/>
                <a:gd name="connsiteY38" fmla="*/ 640937 h 1834229"/>
                <a:gd name="connsiteX39" fmla="*/ 935355 w 1149858"/>
                <a:gd name="connsiteY39" fmla="*/ 636556 h 1834229"/>
                <a:gd name="connsiteX40" fmla="*/ 935355 w 1149858"/>
                <a:gd name="connsiteY40" fmla="*/ 626555 h 1834229"/>
                <a:gd name="connsiteX41" fmla="*/ 1006221 w 1149858"/>
                <a:gd name="connsiteY41" fmla="*/ 626555 h 1834229"/>
                <a:gd name="connsiteX42" fmla="*/ 1149858 w 1149858"/>
                <a:gd name="connsiteY42" fmla="*/ 490061 h 1834229"/>
                <a:gd name="connsiteX43" fmla="*/ 1149858 w 1149858"/>
                <a:gd name="connsiteY43" fmla="*/ 0 h 1834229"/>
                <a:gd name="connsiteX44" fmla="*/ 935450 w 1149858"/>
                <a:gd name="connsiteY44" fmla="*/ 0 h 183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149858" h="1834229">
                  <a:moveTo>
                    <a:pt x="935450" y="0"/>
                  </a:moveTo>
                  <a:lnTo>
                    <a:pt x="644367" y="0"/>
                  </a:lnTo>
                  <a:lnTo>
                    <a:pt x="436912" y="0"/>
                  </a:lnTo>
                  <a:cubicBezTo>
                    <a:pt x="383477" y="0"/>
                    <a:pt x="340043" y="43339"/>
                    <a:pt x="340043" y="96869"/>
                  </a:cubicBezTo>
                  <a:lnTo>
                    <a:pt x="340043" y="393764"/>
                  </a:lnTo>
                  <a:lnTo>
                    <a:pt x="98774" y="393764"/>
                  </a:lnTo>
                  <a:cubicBezTo>
                    <a:pt x="45339" y="393764"/>
                    <a:pt x="1905" y="437102"/>
                    <a:pt x="1905" y="490633"/>
                  </a:cubicBezTo>
                  <a:lnTo>
                    <a:pt x="1905" y="659606"/>
                  </a:lnTo>
                  <a:lnTo>
                    <a:pt x="0" y="659892"/>
                  </a:lnTo>
                  <a:lnTo>
                    <a:pt x="0" y="916305"/>
                  </a:lnTo>
                  <a:lnTo>
                    <a:pt x="0" y="998410"/>
                  </a:lnTo>
                  <a:lnTo>
                    <a:pt x="0" y="1315593"/>
                  </a:lnTo>
                  <a:cubicBezTo>
                    <a:pt x="0" y="1359789"/>
                    <a:pt x="34862" y="1396270"/>
                    <a:pt x="78486" y="1398842"/>
                  </a:cubicBezTo>
                  <a:cubicBezTo>
                    <a:pt x="121349" y="1401413"/>
                    <a:pt x="154686" y="1436751"/>
                    <a:pt x="154686" y="1479709"/>
                  </a:cubicBezTo>
                  <a:lnTo>
                    <a:pt x="154686" y="1601343"/>
                  </a:lnTo>
                  <a:cubicBezTo>
                    <a:pt x="154686" y="1646015"/>
                    <a:pt x="190310" y="1682782"/>
                    <a:pt x="234506" y="1684687"/>
                  </a:cubicBezTo>
                  <a:cubicBezTo>
                    <a:pt x="277844" y="1686592"/>
                    <a:pt x="312039" y="1722215"/>
                    <a:pt x="312039" y="1765649"/>
                  </a:cubicBezTo>
                  <a:lnTo>
                    <a:pt x="312039" y="1776603"/>
                  </a:lnTo>
                  <a:cubicBezTo>
                    <a:pt x="312039" y="1808321"/>
                    <a:pt x="337947" y="1834229"/>
                    <a:pt x="369665" y="1834229"/>
                  </a:cubicBezTo>
                  <a:lnTo>
                    <a:pt x="389668" y="1834229"/>
                  </a:lnTo>
                  <a:cubicBezTo>
                    <a:pt x="421386" y="1834229"/>
                    <a:pt x="447294" y="1808321"/>
                    <a:pt x="447294" y="1776603"/>
                  </a:cubicBezTo>
                  <a:lnTo>
                    <a:pt x="447294" y="1765745"/>
                  </a:lnTo>
                  <a:cubicBezTo>
                    <a:pt x="447294" y="1721168"/>
                    <a:pt x="483680" y="1684782"/>
                    <a:pt x="528257" y="1684782"/>
                  </a:cubicBezTo>
                  <a:lnTo>
                    <a:pt x="681323" y="1684782"/>
                  </a:lnTo>
                  <a:cubicBezTo>
                    <a:pt x="727234" y="1684782"/>
                    <a:pt x="764762" y="1647254"/>
                    <a:pt x="764762" y="1601343"/>
                  </a:cubicBezTo>
                  <a:lnTo>
                    <a:pt x="764762" y="1348835"/>
                  </a:lnTo>
                  <a:cubicBezTo>
                    <a:pt x="764762" y="1302925"/>
                    <a:pt x="726662" y="1258253"/>
                    <a:pt x="681323" y="1265396"/>
                  </a:cubicBezTo>
                  <a:cubicBezTo>
                    <a:pt x="633508" y="1272921"/>
                    <a:pt x="601028" y="1256348"/>
                    <a:pt x="602171" y="1186910"/>
                  </a:cubicBezTo>
                  <a:cubicBezTo>
                    <a:pt x="602933" y="1142333"/>
                    <a:pt x="638556" y="1105948"/>
                    <a:pt x="683133" y="1105948"/>
                  </a:cubicBezTo>
                  <a:lnTo>
                    <a:pt x="860870" y="1105948"/>
                  </a:lnTo>
                  <a:cubicBezTo>
                    <a:pt x="892588" y="1105948"/>
                    <a:pt x="918496" y="1080040"/>
                    <a:pt x="918496" y="1048322"/>
                  </a:cubicBezTo>
                  <a:lnTo>
                    <a:pt x="918496" y="1028319"/>
                  </a:lnTo>
                  <a:cubicBezTo>
                    <a:pt x="918496" y="996601"/>
                    <a:pt x="892588" y="970693"/>
                    <a:pt x="860870" y="970693"/>
                  </a:cubicBezTo>
                  <a:lnTo>
                    <a:pt x="845725" y="970693"/>
                  </a:lnTo>
                  <a:cubicBezTo>
                    <a:pt x="801148" y="970693"/>
                    <a:pt x="764762" y="934307"/>
                    <a:pt x="764762" y="889730"/>
                  </a:cubicBezTo>
                  <a:lnTo>
                    <a:pt x="764762" y="759047"/>
                  </a:lnTo>
                  <a:cubicBezTo>
                    <a:pt x="764762" y="748951"/>
                    <a:pt x="764381" y="740950"/>
                    <a:pt x="763905" y="730282"/>
                  </a:cubicBezTo>
                  <a:lnTo>
                    <a:pt x="798862" y="730282"/>
                  </a:lnTo>
                  <a:cubicBezTo>
                    <a:pt x="874300" y="730282"/>
                    <a:pt x="935355" y="716375"/>
                    <a:pt x="935355" y="640937"/>
                  </a:cubicBezTo>
                  <a:lnTo>
                    <a:pt x="935355" y="636556"/>
                  </a:lnTo>
                  <a:lnTo>
                    <a:pt x="935355" y="626555"/>
                  </a:lnTo>
                  <a:lnTo>
                    <a:pt x="1006221" y="626555"/>
                  </a:lnTo>
                  <a:cubicBezTo>
                    <a:pt x="1081659" y="626555"/>
                    <a:pt x="1149858" y="565404"/>
                    <a:pt x="1149858" y="490061"/>
                  </a:cubicBezTo>
                  <a:lnTo>
                    <a:pt x="1149858" y="0"/>
                  </a:lnTo>
                  <a:lnTo>
                    <a:pt x="93545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7" name="Freeform: Shape 126">
              <a:extLst>
                <a:ext uri="{FF2B5EF4-FFF2-40B4-BE49-F238E27FC236}">
                  <a16:creationId xmlns:a16="http://schemas.microsoft.com/office/drawing/2014/main" id="{81C07194-EC3B-408A-AFC7-945F624F9FBE}"/>
                </a:ext>
              </a:extLst>
            </p:cNvPr>
            <p:cNvSpPr/>
            <p:nvPr/>
          </p:nvSpPr>
          <p:spPr>
            <a:xfrm>
              <a:off x="4395518" y="260683"/>
              <a:ext cx="1290351" cy="1074229"/>
            </a:xfrm>
            <a:custGeom>
              <a:avLst/>
              <a:gdLst>
                <a:gd name="connsiteX0" fmla="*/ 1290352 w 1290351"/>
                <a:gd name="connsiteY0" fmla="*/ 314516 h 1074229"/>
                <a:gd name="connsiteX1" fmla="*/ 626555 w 1290351"/>
                <a:gd name="connsiteY1" fmla="*/ 314516 h 1074229"/>
                <a:gd name="connsiteX2" fmla="*/ 626555 w 1290351"/>
                <a:gd name="connsiteY2" fmla="*/ 136493 h 1074229"/>
                <a:gd name="connsiteX3" fmla="*/ 490061 w 1290351"/>
                <a:gd name="connsiteY3" fmla="*/ 0 h 1074229"/>
                <a:gd name="connsiteX4" fmla="*/ 407765 w 1290351"/>
                <a:gd name="connsiteY4" fmla="*/ 0 h 1074229"/>
                <a:gd name="connsiteX5" fmla="*/ 407765 w 1290351"/>
                <a:gd name="connsiteY5" fmla="*/ 286 h 1074229"/>
                <a:gd name="connsiteX6" fmla="*/ 248983 w 1290351"/>
                <a:gd name="connsiteY6" fmla="*/ 286 h 1074229"/>
                <a:gd name="connsiteX7" fmla="*/ 248983 w 1290351"/>
                <a:gd name="connsiteY7" fmla="*/ 28861 h 1074229"/>
                <a:gd name="connsiteX8" fmla="*/ 156877 w 1290351"/>
                <a:gd name="connsiteY8" fmla="*/ 120967 h 1074229"/>
                <a:gd name="connsiteX9" fmla="*/ 0 w 1290351"/>
                <a:gd name="connsiteY9" fmla="*/ 120967 h 1074229"/>
                <a:gd name="connsiteX10" fmla="*/ 0 w 1290351"/>
                <a:gd name="connsiteY10" fmla="*/ 595408 h 1074229"/>
                <a:gd name="connsiteX11" fmla="*/ 270986 w 1290351"/>
                <a:gd name="connsiteY11" fmla="*/ 595408 h 1074229"/>
                <a:gd name="connsiteX12" fmla="*/ 270986 w 1290351"/>
                <a:gd name="connsiteY12" fmla="*/ 990791 h 1074229"/>
                <a:gd name="connsiteX13" fmla="*/ 354425 w 1290351"/>
                <a:gd name="connsiteY13" fmla="*/ 1074230 h 1074229"/>
                <a:gd name="connsiteX14" fmla="*/ 954500 w 1290351"/>
                <a:gd name="connsiteY14" fmla="*/ 1074230 h 1074229"/>
                <a:gd name="connsiteX15" fmla="*/ 1034415 w 1290351"/>
                <a:gd name="connsiteY15" fmla="*/ 1074230 h 1074229"/>
                <a:gd name="connsiteX16" fmla="*/ 1034701 w 1290351"/>
                <a:gd name="connsiteY16" fmla="*/ 1004602 h 1074229"/>
                <a:gd name="connsiteX17" fmla="*/ 1113186 w 1290351"/>
                <a:gd name="connsiteY17" fmla="*/ 932974 h 1074229"/>
                <a:gd name="connsiteX18" fmla="*/ 1189386 w 1290351"/>
                <a:gd name="connsiteY18" fmla="*/ 863251 h 1074229"/>
                <a:gd name="connsiteX19" fmla="*/ 1272064 w 1290351"/>
                <a:gd name="connsiteY19" fmla="*/ 791337 h 1074229"/>
                <a:gd name="connsiteX20" fmla="*/ 1287780 w 1290351"/>
                <a:gd name="connsiteY20" fmla="*/ 791337 h 1074229"/>
                <a:gd name="connsiteX21" fmla="*/ 1290352 w 1290351"/>
                <a:gd name="connsiteY21" fmla="*/ 314516 h 107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90351" h="1074229">
                  <a:moveTo>
                    <a:pt x="1290352" y="314516"/>
                  </a:moveTo>
                  <a:lnTo>
                    <a:pt x="626555" y="314516"/>
                  </a:lnTo>
                  <a:lnTo>
                    <a:pt x="626555" y="136493"/>
                  </a:lnTo>
                  <a:cubicBezTo>
                    <a:pt x="626555" y="61055"/>
                    <a:pt x="565404" y="0"/>
                    <a:pt x="490061" y="0"/>
                  </a:cubicBezTo>
                  <a:lnTo>
                    <a:pt x="407765" y="0"/>
                  </a:lnTo>
                  <a:lnTo>
                    <a:pt x="407765" y="286"/>
                  </a:lnTo>
                  <a:lnTo>
                    <a:pt x="248983" y="286"/>
                  </a:lnTo>
                  <a:lnTo>
                    <a:pt x="248983" y="28861"/>
                  </a:lnTo>
                  <a:cubicBezTo>
                    <a:pt x="248983" y="79724"/>
                    <a:pt x="207740" y="120967"/>
                    <a:pt x="156877" y="120967"/>
                  </a:cubicBezTo>
                  <a:lnTo>
                    <a:pt x="0" y="120967"/>
                  </a:lnTo>
                  <a:lnTo>
                    <a:pt x="0" y="595408"/>
                  </a:lnTo>
                  <a:lnTo>
                    <a:pt x="270986" y="595408"/>
                  </a:lnTo>
                  <a:lnTo>
                    <a:pt x="270986" y="990791"/>
                  </a:lnTo>
                  <a:cubicBezTo>
                    <a:pt x="270986" y="1036701"/>
                    <a:pt x="308515" y="1074230"/>
                    <a:pt x="354425" y="1074230"/>
                  </a:cubicBezTo>
                  <a:lnTo>
                    <a:pt x="954500" y="1074230"/>
                  </a:lnTo>
                  <a:lnTo>
                    <a:pt x="1034415" y="1074230"/>
                  </a:lnTo>
                  <a:lnTo>
                    <a:pt x="1034701" y="1004602"/>
                  </a:lnTo>
                  <a:cubicBezTo>
                    <a:pt x="1034891" y="965168"/>
                    <a:pt x="1073087" y="934879"/>
                    <a:pt x="1113186" y="932974"/>
                  </a:cubicBezTo>
                  <a:cubicBezTo>
                    <a:pt x="1152430" y="931069"/>
                    <a:pt x="1183958" y="902113"/>
                    <a:pt x="1189386" y="863251"/>
                  </a:cubicBezTo>
                  <a:cubicBezTo>
                    <a:pt x="1195006" y="822770"/>
                    <a:pt x="1230058" y="791337"/>
                    <a:pt x="1272064" y="791337"/>
                  </a:cubicBezTo>
                  <a:lnTo>
                    <a:pt x="1287780" y="791337"/>
                  </a:lnTo>
                  <a:cubicBezTo>
                    <a:pt x="1287208" y="673227"/>
                    <a:pt x="1290352" y="511397"/>
                    <a:pt x="1290352" y="314516"/>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8" name="Freeform: Shape 127">
              <a:extLst>
                <a:ext uri="{FF2B5EF4-FFF2-40B4-BE49-F238E27FC236}">
                  <a16:creationId xmlns:a16="http://schemas.microsoft.com/office/drawing/2014/main" id="{6B2906E9-2D4B-4CB3-AE59-72F915171DA2}"/>
                </a:ext>
              </a:extLst>
            </p:cNvPr>
            <p:cNvSpPr/>
            <p:nvPr/>
          </p:nvSpPr>
          <p:spPr>
            <a:xfrm>
              <a:off x="2456609" y="-24876"/>
              <a:ext cx="2346960" cy="1813083"/>
            </a:xfrm>
            <a:custGeom>
              <a:avLst/>
              <a:gdLst>
                <a:gd name="connsiteX0" fmla="*/ 862298 w 2346960"/>
                <a:gd name="connsiteY0" fmla="*/ 0 h 1813083"/>
                <a:gd name="connsiteX1" fmla="*/ 654368 w 2346960"/>
                <a:gd name="connsiteY1" fmla="*/ 207931 h 1813083"/>
                <a:gd name="connsiteX2" fmla="*/ 654368 w 2346960"/>
                <a:gd name="connsiteY2" fmla="*/ 444437 h 1813083"/>
                <a:gd name="connsiteX3" fmla="*/ 513112 w 2346960"/>
                <a:gd name="connsiteY3" fmla="*/ 444437 h 1813083"/>
                <a:gd name="connsiteX4" fmla="*/ 305181 w 2346960"/>
                <a:gd name="connsiteY4" fmla="*/ 652367 h 1813083"/>
                <a:gd name="connsiteX5" fmla="*/ 305181 w 2346960"/>
                <a:gd name="connsiteY5" fmla="*/ 1066514 h 1813083"/>
                <a:gd name="connsiteX6" fmla="*/ 268319 w 2346960"/>
                <a:gd name="connsiteY6" fmla="*/ 1078135 h 1813083"/>
                <a:gd name="connsiteX7" fmla="*/ 235458 w 2346960"/>
                <a:gd name="connsiteY7" fmla="*/ 1090327 h 1813083"/>
                <a:gd name="connsiteX8" fmla="*/ 162497 w 2346960"/>
                <a:gd name="connsiteY8" fmla="*/ 1173099 h 1813083"/>
                <a:gd name="connsiteX9" fmla="*/ 162497 w 2346960"/>
                <a:gd name="connsiteY9" fmla="*/ 1441228 h 1813083"/>
                <a:gd name="connsiteX10" fmla="*/ 81915 w 2346960"/>
                <a:gd name="connsiteY10" fmla="*/ 1522190 h 1813083"/>
                <a:gd name="connsiteX11" fmla="*/ 0 w 2346960"/>
                <a:gd name="connsiteY11" fmla="*/ 1605629 h 1813083"/>
                <a:gd name="connsiteX12" fmla="*/ 0 w 2346960"/>
                <a:gd name="connsiteY12" fmla="*/ 1729645 h 1813083"/>
                <a:gd name="connsiteX13" fmla="*/ 83439 w 2346960"/>
                <a:gd name="connsiteY13" fmla="*/ 1813084 h 1813083"/>
                <a:gd name="connsiteX14" fmla="*/ 364141 w 2346960"/>
                <a:gd name="connsiteY14" fmla="*/ 1813084 h 1813083"/>
                <a:gd name="connsiteX15" fmla="*/ 447484 w 2346960"/>
                <a:gd name="connsiteY15" fmla="*/ 1733264 h 1813083"/>
                <a:gd name="connsiteX16" fmla="*/ 527590 w 2346960"/>
                <a:gd name="connsiteY16" fmla="*/ 1655731 h 1813083"/>
                <a:gd name="connsiteX17" fmla="*/ 609600 w 2346960"/>
                <a:gd name="connsiteY17" fmla="*/ 1581817 h 1813083"/>
                <a:gd name="connsiteX18" fmla="*/ 687896 w 2346960"/>
                <a:gd name="connsiteY18" fmla="*/ 1508951 h 1813083"/>
                <a:gd name="connsiteX19" fmla="*/ 708184 w 2346960"/>
                <a:gd name="connsiteY19" fmla="*/ 1508951 h 1813083"/>
                <a:gd name="connsiteX20" fmla="*/ 789146 w 2346960"/>
                <a:gd name="connsiteY20" fmla="*/ 1589913 h 1813083"/>
                <a:gd name="connsiteX21" fmla="*/ 789146 w 2346960"/>
                <a:gd name="connsiteY21" fmla="*/ 1404557 h 1813083"/>
                <a:gd name="connsiteX22" fmla="*/ 789146 w 2346960"/>
                <a:gd name="connsiteY22" fmla="*/ 1322451 h 1813083"/>
                <a:gd name="connsiteX23" fmla="*/ 789146 w 2346960"/>
                <a:gd name="connsiteY23" fmla="*/ 1066038 h 1813083"/>
                <a:gd name="connsiteX24" fmla="*/ 787908 w 2346960"/>
                <a:gd name="connsiteY24" fmla="*/ 1066038 h 1813083"/>
                <a:gd name="connsiteX25" fmla="*/ 787908 w 2346960"/>
                <a:gd name="connsiteY25" fmla="*/ 876300 h 1813083"/>
                <a:gd name="connsiteX26" fmla="*/ 793337 w 2346960"/>
                <a:gd name="connsiteY26" fmla="*/ 876300 h 1813083"/>
                <a:gd name="connsiteX27" fmla="*/ 887921 w 2346960"/>
                <a:gd name="connsiteY27" fmla="*/ 800100 h 1813083"/>
                <a:gd name="connsiteX28" fmla="*/ 1129189 w 2346960"/>
                <a:gd name="connsiteY28" fmla="*/ 800100 h 1813083"/>
                <a:gd name="connsiteX29" fmla="*/ 1129189 w 2346960"/>
                <a:gd name="connsiteY29" fmla="*/ 503301 h 1813083"/>
                <a:gd name="connsiteX30" fmla="*/ 1226058 w 2346960"/>
                <a:gd name="connsiteY30" fmla="*/ 406432 h 1813083"/>
                <a:gd name="connsiteX31" fmla="*/ 1433513 w 2346960"/>
                <a:gd name="connsiteY31" fmla="*/ 406432 h 1813083"/>
                <a:gd name="connsiteX32" fmla="*/ 1724597 w 2346960"/>
                <a:gd name="connsiteY32" fmla="*/ 406432 h 1813083"/>
                <a:gd name="connsiteX33" fmla="*/ 2096072 w 2346960"/>
                <a:gd name="connsiteY33" fmla="*/ 406432 h 1813083"/>
                <a:gd name="connsiteX34" fmla="*/ 2188178 w 2346960"/>
                <a:gd name="connsiteY34" fmla="*/ 314325 h 1813083"/>
                <a:gd name="connsiteX35" fmla="*/ 2188178 w 2346960"/>
                <a:gd name="connsiteY35" fmla="*/ 285750 h 1813083"/>
                <a:gd name="connsiteX36" fmla="*/ 2346960 w 2346960"/>
                <a:gd name="connsiteY36" fmla="*/ 285750 h 1813083"/>
                <a:gd name="connsiteX37" fmla="*/ 2346960 w 2346960"/>
                <a:gd name="connsiteY37" fmla="*/ 0 h 1813083"/>
                <a:gd name="connsiteX38" fmla="*/ 862298 w 2346960"/>
                <a:gd name="connsiteY38" fmla="*/ 0 h 181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46960" h="1813083">
                  <a:moveTo>
                    <a:pt x="862298" y="0"/>
                  </a:moveTo>
                  <a:cubicBezTo>
                    <a:pt x="747427" y="0"/>
                    <a:pt x="654368" y="93155"/>
                    <a:pt x="654368" y="207931"/>
                  </a:cubicBezTo>
                  <a:lnTo>
                    <a:pt x="654368" y="444437"/>
                  </a:lnTo>
                  <a:lnTo>
                    <a:pt x="513112" y="444437"/>
                  </a:lnTo>
                  <a:cubicBezTo>
                    <a:pt x="398240" y="444437"/>
                    <a:pt x="305181" y="537591"/>
                    <a:pt x="305181" y="652367"/>
                  </a:cubicBezTo>
                  <a:lnTo>
                    <a:pt x="305181" y="1066514"/>
                  </a:lnTo>
                  <a:cubicBezTo>
                    <a:pt x="291846" y="1067562"/>
                    <a:pt x="279273" y="1071563"/>
                    <a:pt x="268319" y="1078135"/>
                  </a:cubicBezTo>
                  <a:cubicBezTo>
                    <a:pt x="258223" y="1084231"/>
                    <a:pt x="247174" y="1088803"/>
                    <a:pt x="235458" y="1090327"/>
                  </a:cubicBezTo>
                  <a:cubicBezTo>
                    <a:pt x="194405" y="1095470"/>
                    <a:pt x="162497" y="1130713"/>
                    <a:pt x="162497" y="1173099"/>
                  </a:cubicBezTo>
                  <a:lnTo>
                    <a:pt x="162497" y="1441228"/>
                  </a:lnTo>
                  <a:cubicBezTo>
                    <a:pt x="162497" y="1485519"/>
                    <a:pt x="126206" y="1521428"/>
                    <a:pt x="81915" y="1522190"/>
                  </a:cubicBezTo>
                  <a:cubicBezTo>
                    <a:pt x="36671" y="1522952"/>
                    <a:pt x="0" y="1560195"/>
                    <a:pt x="0" y="1605629"/>
                  </a:cubicBezTo>
                  <a:lnTo>
                    <a:pt x="0" y="1729645"/>
                  </a:lnTo>
                  <a:cubicBezTo>
                    <a:pt x="0" y="1775555"/>
                    <a:pt x="37529" y="1813084"/>
                    <a:pt x="83439" y="1813084"/>
                  </a:cubicBezTo>
                  <a:lnTo>
                    <a:pt x="364141" y="1813084"/>
                  </a:lnTo>
                  <a:cubicBezTo>
                    <a:pt x="408813" y="1813084"/>
                    <a:pt x="445580" y="1777460"/>
                    <a:pt x="447484" y="1733264"/>
                  </a:cubicBezTo>
                  <a:cubicBezTo>
                    <a:pt x="449390" y="1690211"/>
                    <a:pt x="484442" y="1656207"/>
                    <a:pt x="527590" y="1655731"/>
                  </a:cubicBezTo>
                  <a:cubicBezTo>
                    <a:pt x="569881" y="1655255"/>
                    <a:pt x="604838" y="1622965"/>
                    <a:pt x="609600" y="1581817"/>
                  </a:cubicBezTo>
                  <a:cubicBezTo>
                    <a:pt x="614267" y="1540859"/>
                    <a:pt x="646748" y="1508951"/>
                    <a:pt x="687896" y="1508951"/>
                  </a:cubicBezTo>
                  <a:lnTo>
                    <a:pt x="708184" y="1508951"/>
                  </a:lnTo>
                  <a:cubicBezTo>
                    <a:pt x="752761" y="1508951"/>
                    <a:pt x="789146" y="1545336"/>
                    <a:pt x="789146" y="1589913"/>
                  </a:cubicBezTo>
                  <a:lnTo>
                    <a:pt x="789146" y="1404557"/>
                  </a:lnTo>
                  <a:lnTo>
                    <a:pt x="789146" y="1322451"/>
                  </a:lnTo>
                  <a:lnTo>
                    <a:pt x="789146" y="1066038"/>
                  </a:lnTo>
                  <a:lnTo>
                    <a:pt x="787908" y="1066038"/>
                  </a:lnTo>
                  <a:lnTo>
                    <a:pt x="787908" y="876300"/>
                  </a:lnTo>
                  <a:lnTo>
                    <a:pt x="793337" y="876300"/>
                  </a:lnTo>
                  <a:cubicBezTo>
                    <a:pt x="802767" y="832771"/>
                    <a:pt x="841534" y="800100"/>
                    <a:pt x="887921" y="800100"/>
                  </a:cubicBezTo>
                  <a:lnTo>
                    <a:pt x="1129189" y="800100"/>
                  </a:lnTo>
                  <a:lnTo>
                    <a:pt x="1129189" y="503301"/>
                  </a:lnTo>
                  <a:cubicBezTo>
                    <a:pt x="1129189" y="449866"/>
                    <a:pt x="1172527" y="406432"/>
                    <a:pt x="1226058" y="406432"/>
                  </a:cubicBezTo>
                  <a:lnTo>
                    <a:pt x="1433513" y="406432"/>
                  </a:lnTo>
                  <a:lnTo>
                    <a:pt x="1724597" y="406432"/>
                  </a:lnTo>
                  <a:lnTo>
                    <a:pt x="2096072" y="406432"/>
                  </a:lnTo>
                  <a:cubicBezTo>
                    <a:pt x="2146935" y="406432"/>
                    <a:pt x="2188178" y="365189"/>
                    <a:pt x="2188178" y="314325"/>
                  </a:cubicBezTo>
                  <a:lnTo>
                    <a:pt x="2188178" y="285750"/>
                  </a:lnTo>
                  <a:lnTo>
                    <a:pt x="2346960" y="285750"/>
                  </a:lnTo>
                  <a:lnTo>
                    <a:pt x="2346960" y="0"/>
                  </a:lnTo>
                  <a:lnTo>
                    <a:pt x="86229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9" name="Freeform: Shape 128">
              <a:extLst>
                <a:ext uri="{FF2B5EF4-FFF2-40B4-BE49-F238E27FC236}">
                  <a16:creationId xmlns:a16="http://schemas.microsoft.com/office/drawing/2014/main" id="{51D0CF0F-4233-4970-B46B-65DA292542AA}"/>
                </a:ext>
              </a:extLst>
            </p:cNvPr>
            <p:cNvSpPr/>
            <p:nvPr/>
          </p:nvSpPr>
          <p:spPr>
            <a:xfrm>
              <a:off x="4963684" y="2644504"/>
              <a:ext cx="1471421" cy="875728"/>
            </a:xfrm>
            <a:custGeom>
              <a:avLst/>
              <a:gdLst>
                <a:gd name="connsiteX0" fmla="*/ 157829 w 1471421"/>
                <a:gd name="connsiteY0" fmla="*/ 0 h 875728"/>
                <a:gd name="connsiteX1" fmla="*/ 157829 w 1471421"/>
                <a:gd name="connsiteY1" fmla="*/ 53245 h 875728"/>
                <a:gd name="connsiteX2" fmla="*/ 157829 w 1471421"/>
                <a:gd name="connsiteY2" fmla="*/ 105632 h 875728"/>
                <a:gd name="connsiteX3" fmla="*/ 200406 w 1471421"/>
                <a:gd name="connsiteY3" fmla="*/ 163354 h 875728"/>
                <a:gd name="connsiteX4" fmla="*/ 218313 w 1471421"/>
                <a:gd name="connsiteY4" fmla="*/ 166116 h 875728"/>
                <a:gd name="connsiteX5" fmla="*/ 312515 w 1471421"/>
                <a:gd name="connsiteY5" fmla="*/ 166116 h 875728"/>
                <a:gd name="connsiteX6" fmla="*/ 314134 w 1471421"/>
                <a:gd name="connsiteY6" fmla="*/ 166116 h 875728"/>
                <a:gd name="connsiteX7" fmla="*/ 314801 w 1471421"/>
                <a:gd name="connsiteY7" fmla="*/ 442722 h 875728"/>
                <a:gd name="connsiteX8" fmla="*/ 314801 w 1471421"/>
                <a:gd name="connsiteY8" fmla="*/ 444913 h 875728"/>
                <a:gd name="connsiteX9" fmla="*/ 314801 w 1471421"/>
                <a:gd name="connsiteY9" fmla="*/ 444913 h 875728"/>
                <a:gd name="connsiteX10" fmla="*/ 232982 w 1471421"/>
                <a:gd name="connsiteY10" fmla="*/ 444913 h 875728"/>
                <a:gd name="connsiteX11" fmla="*/ 162020 w 1471421"/>
                <a:gd name="connsiteY11" fmla="*/ 498538 h 875728"/>
                <a:gd name="connsiteX12" fmla="*/ 160401 w 1471421"/>
                <a:gd name="connsiteY12" fmla="*/ 512540 h 875728"/>
                <a:gd name="connsiteX13" fmla="*/ 160211 w 1471421"/>
                <a:gd name="connsiteY13" fmla="*/ 543497 h 875728"/>
                <a:gd name="connsiteX14" fmla="*/ 99726 w 1471421"/>
                <a:gd name="connsiteY14" fmla="*/ 603980 h 875728"/>
                <a:gd name="connsiteX15" fmla="*/ 381 w 1471421"/>
                <a:gd name="connsiteY15" fmla="*/ 603980 h 875728"/>
                <a:gd name="connsiteX16" fmla="*/ 381 w 1471421"/>
                <a:gd name="connsiteY16" fmla="*/ 743712 h 875728"/>
                <a:gd name="connsiteX17" fmla="*/ 0 w 1471421"/>
                <a:gd name="connsiteY17" fmla="*/ 743712 h 875728"/>
                <a:gd name="connsiteX18" fmla="*/ 0 w 1471421"/>
                <a:gd name="connsiteY18" fmla="*/ 747141 h 875728"/>
                <a:gd name="connsiteX19" fmla="*/ 146114 w 1471421"/>
                <a:gd name="connsiteY19" fmla="*/ 747141 h 875728"/>
                <a:gd name="connsiteX20" fmla="*/ 203740 w 1471421"/>
                <a:gd name="connsiteY20" fmla="*/ 804767 h 875728"/>
                <a:gd name="connsiteX21" fmla="*/ 203740 w 1471421"/>
                <a:gd name="connsiteY21" fmla="*/ 824770 h 875728"/>
                <a:gd name="connsiteX22" fmla="*/ 172879 w 1471421"/>
                <a:gd name="connsiteY22" fmla="*/ 875729 h 875728"/>
                <a:gd name="connsiteX23" fmla="*/ 232600 w 1471421"/>
                <a:gd name="connsiteY23" fmla="*/ 875729 h 875728"/>
                <a:gd name="connsiteX24" fmla="*/ 313373 w 1471421"/>
                <a:gd name="connsiteY24" fmla="*/ 801243 h 875728"/>
                <a:gd name="connsiteX25" fmla="*/ 383191 w 1471421"/>
                <a:gd name="connsiteY25" fmla="*/ 736854 h 875728"/>
                <a:gd name="connsiteX26" fmla="*/ 498539 w 1471421"/>
                <a:gd name="connsiteY26" fmla="*/ 736854 h 875728"/>
                <a:gd name="connsiteX27" fmla="*/ 548068 w 1471421"/>
                <a:gd name="connsiteY27" fmla="*/ 736854 h 875728"/>
                <a:gd name="connsiteX28" fmla="*/ 1256157 w 1471421"/>
                <a:gd name="connsiteY28" fmla="*/ 736854 h 875728"/>
                <a:gd name="connsiteX29" fmla="*/ 1256157 w 1471421"/>
                <a:gd name="connsiteY29" fmla="*/ 745427 h 875728"/>
                <a:gd name="connsiteX30" fmla="*/ 1370457 w 1471421"/>
                <a:gd name="connsiteY30" fmla="*/ 859727 h 875728"/>
                <a:gd name="connsiteX31" fmla="*/ 1471422 w 1471421"/>
                <a:gd name="connsiteY31" fmla="*/ 859727 h 875728"/>
                <a:gd name="connsiteX32" fmla="*/ 1471422 w 1471421"/>
                <a:gd name="connsiteY32" fmla="*/ 843439 h 875728"/>
                <a:gd name="connsiteX33" fmla="*/ 1471422 w 1471421"/>
                <a:gd name="connsiteY33" fmla="*/ 390620 h 875728"/>
                <a:gd name="connsiteX34" fmla="*/ 1471422 w 1471421"/>
                <a:gd name="connsiteY34" fmla="*/ 191 h 875728"/>
                <a:gd name="connsiteX35" fmla="*/ 157829 w 1471421"/>
                <a:gd name="connsiteY35" fmla="*/ 191 h 875728"/>
                <a:gd name="connsiteX36" fmla="*/ 1255395 w 1471421"/>
                <a:gd name="connsiteY36" fmla="*/ 736663 h 875728"/>
                <a:gd name="connsiteX37" fmla="*/ 947452 w 1471421"/>
                <a:gd name="connsiteY37" fmla="*/ 736663 h 875728"/>
                <a:gd name="connsiteX38" fmla="*/ 947452 w 1471421"/>
                <a:gd name="connsiteY38" fmla="*/ 496157 h 875728"/>
                <a:gd name="connsiteX39" fmla="*/ 1062609 w 1471421"/>
                <a:gd name="connsiteY39" fmla="*/ 381857 h 875728"/>
                <a:gd name="connsiteX40" fmla="*/ 1255395 w 1471421"/>
                <a:gd name="connsiteY40" fmla="*/ 381857 h 875728"/>
                <a:gd name="connsiteX41" fmla="*/ 1255395 w 1471421"/>
                <a:gd name="connsiteY41" fmla="*/ 736663 h 87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71421" h="875728">
                  <a:moveTo>
                    <a:pt x="157829" y="0"/>
                  </a:moveTo>
                  <a:lnTo>
                    <a:pt x="157829" y="53245"/>
                  </a:lnTo>
                  <a:lnTo>
                    <a:pt x="157829" y="105632"/>
                  </a:lnTo>
                  <a:cubicBezTo>
                    <a:pt x="157829" y="132683"/>
                    <a:pt x="175832" y="155638"/>
                    <a:pt x="200406" y="163354"/>
                  </a:cubicBezTo>
                  <a:cubicBezTo>
                    <a:pt x="206121" y="165163"/>
                    <a:pt x="212122" y="166116"/>
                    <a:pt x="218313" y="166116"/>
                  </a:cubicBezTo>
                  <a:lnTo>
                    <a:pt x="312515" y="166116"/>
                  </a:lnTo>
                  <a:lnTo>
                    <a:pt x="314134" y="166116"/>
                  </a:lnTo>
                  <a:lnTo>
                    <a:pt x="314801" y="442722"/>
                  </a:lnTo>
                  <a:lnTo>
                    <a:pt x="314801" y="444913"/>
                  </a:lnTo>
                  <a:lnTo>
                    <a:pt x="314801" y="444913"/>
                  </a:lnTo>
                  <a:lnTo>
                    <a:pt x="232982" y="444913"/>
                  </a:lnTo>
                  <a:cubicBezTo>
                    <a:pt x="199263" y="444913"/>
                    <a:pt x="169164" y="467201"/>
                    <a:pt x="162020" y="498538"/>
                  </a:cubicBezTo>
                  <a:cubicBezTo>
                    <a:pt x="160973" y="503015"/>
                    <a:pt x="160496" y="507683"/>
                    <a:pt x="160401" y="512540"/>
                  </a:cubicBezTo>
                  <a:lnTo>
                    <a:pt x="160211" y="543497"/>
                  </a:lnTo>
                  <a:cubicBezTo>
                    <a:pt x="160020" y="576739"/>
                    <a:pt x="132969" y="603980"/>
                    <a:pt x="99726" y="603980"/>
                  </a:cubicBezTo>
                  <a:lnTo>
                    <a:pt x="381" y="603980"/>
                  </a:lnTo>
                  <a:lnTo>
                    <a:pt x="381" y="743712"/>
                  </a:lnTo>
                  <a:lnTo>
                    <a:pt x="0" y="743712"/>
                  </a:lnTo>
                  <a:lnTo>
                    <a:pt x="0" y="747141"/>
                  </a:lnTo>
                  <a:lnTo>
                    <a:pt x="146114" y="747141"/>
                  </a:lnTo>
                  <a:cubicBezTo>
                    <a:pt x="177832" y="747141"/>
                    <a:pt x="203740" y="773049"/>
                    <a:pt x="203740" y="804767"/>
                  </a:cubicBezTo>
                  <a:lnTo>
                    <a:pt x="203740" y="824770"/>
                  </a:lnTo>
                  <a:cubicBezTo>
                    <a:pt x="203740" y="846773"/>
                    <a:pt x="191167" y="866013"/>
                    <a:pt x="172879" y="875729"/>
                  </a:cubicBezTo>
                  <a:lnTo>
                    <a:pt x="232600" y="875729"/>
                  </a:lnTo>
                  <a:cubicBezTo>
                    <a:pt x="274891" y="875729"/>
                    <a:pt x="309943" y="843439"/>
                    <a:pt x="313373" y="801243"/>
                  </a:cubicBezTo>
                  <a:cubicBezTo>
                    <a:pt x="316230" y="765334"/>
                    <a:pt x="346615" y="736854"/>
                    <a:pt x="383191" y="736854"/>
                  </a:cubicBezTo>
                  <a:lnTo>
                    <a:pt x="498539" y="736854"/>
                  </a:lnTo>
                  <a:lnTo>
                    <a:pt x="548068" y="736854"/>
                  </a:lnTo>
                  <a:lnTo>
                    <a:pt x="1256157" y="736854"/>
                  </a:lnTo>
                  <a:lnTo>
                    <a:pt x="1256157" y="745427"/>
                  </a:lnTo>
                  <a:cubicBezTo>
                    <a:pt x="1256157" y="808292"/>
                    <a:pt x="1307592" y="859727"/>
                    <a:pt x="1370457" y="859727"/>
                  </a:cubicBezTo>
                  <a:lnTo>
                    <a:pt x="1471422" y="859727"/>
                  </a:lnTo>
                  <a:lnTo>
                    <a:pt x="1471422" y="843439"/>
                  </a:lnTo>
                  <a:lnTo>
                    <a:pt x="1471422" y="390620"/>
                  </a:lnTo>
                  <a:lnTo>
                    <a:pt x="1471422" y="191"/>
                  </a:lnTo>
                  <a:lnTo>
                    <a:pt x="157829" y="191"/>
                  </a:lnTo>
                  <a:close/>
                  <a:moveTo>
                    <a:pt x="1255395" y="736663"/>
                  </a:moveTo>
                  <a:lnTo>
                    <a:pt x="947452" y="736663"/>
                  </a:lnTo>
                  <a:lnTo>
                    <a:pt x="947452" y="496157"/>
                  </a:lnTo>
                  <a:cubicBezTo>
                    <a:pt x="947452" y="433292"/>
                    <a:pt x="999268" y="381857"/>
                    <a:pt x="1062609" y="381857"/>
                  </a:cubicBezTo>
                  <a:lnTo>
                    <a:pt x="1255395" y="381857"/>
                  </a:lnTo>
                  <a:lnTo>
                    <a:pt x="1255395" y="736663"/>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30" name="Freeform: Shape 129">
              <a:extLst>
                <a:ext uri="{FF2B5EF4-FFF2-40B4-BE49-F238E27FC236}">
                  <a16:creationId xmlns:a16="http://schemas.microsoft.com/office/drawing/2014/main" id="{F365C1AE-BE6C-4275-82BA-282E4009909E}"/>
                </a:ext>
              </a:extLst>
            </p:cNvPr>
            <p:cNvSpPr/>
            <p:nvPr/>
          </p:nvSpPr>
          <p:spPr>
            <a:xfrm>
              <a:off x="5911136" y="3026362"/>
              <a:ext cx="307943" cy="354806"/>
            </a:xfrm>
            <a:custGeom>
              <a:avLst/>
              <a:gdLst>
                <a:gd name="connsiteX0" fmla="*/ 115158 w 307943"/>
                <a:gd name="connsiteY0" fmla="*/ 0 h 354806"/>
                <a:gd name="connsiteX1" fmla="*/ 0 w 307943"/>
                <a:gd name="connsiteY1" fmla="*/ 114300 h 354806"/>
                <a:gd name="connsiteX2" fmla="*/ 0 w 307943"/>
                <a:gd name="connsiteY2" fmla="*/ 354806 h 354806"/>
                <a:gd name="connsiteX3" fmla="*/ 307943 w 307943"/>
                <a:gd name="connsiteY3" fmla="*/ 354806 h 354806"/>
                <a:gd name="connsiteX4" fmla="*/ 307943 w 307943"/>
                <a:gd name="connsiteY4" fmla="*/ 0 h 354806"/>
                <a:gd name="connsiteX5" fmla="*/ 115158 w 307943"/>
                <a:gd name="connsiteY5" fmla="*/ 0 h 35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943" h="354806">
                  <a:moveTo>
                    <a:pt x="115158" y="0"/>
                  </a:moveTo>
                  <a:cubicBezTo>
                    <a:pt x="51816" y="0"/>
                    <a:pt x="0" y="51435"/>
                    <a:pt x="0" y="114300"/>
                  </a:cubicBezTo>
                  <a:lnTo>
                    <a:pt x="0" y="354806"/>
                  </a:lnTo>
                  <a:lnTo>
                    <a:pt x="307943" y="354806"/>
                  </a:lnTo>
                  <a:lnTo>
                    <a:pt x="307943" y="0"/>
                  </a:lnTo>
                  <a:lnTo>
                    <a:pt x="11515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31" name="Freeform: Shape 130">
              <a:extLst>
                <a:ext uri="{FF2B5EF4-FFF2-40B4-BE49-F238E27FC236}">
                  <a16:creationId xmlns:a16="http://schemas.microsoft.com/office/drawing/2014/main" id="{2B3D20F9-63D4-4DC8-9C2C-A0EE3A910E57}"/>
                </a:ext>
              </a:extLst>
            </p:cNvPr>
            <p:cNvSpPr/>
            <p:nvPr/>
          </p:nvSpPr>
          <p:spPr>
            <a:xfrm>
              <a:off x="4803283" y="-24876"/>
              <a:ext cx="1632204" cy="2667095"/>
            </a:xfrm>
            <a:custGeom>
              <a:avLst/>
              <a:gdLst>
                <a:gd name="connsiteX0" fmla="*/ 1496949 w 1632204"/>
                <a:gd name="connsiteY0" fmla="*/ 1233678 h 2667095"/>
                <a:gd name="connsiteX1" fmla="*/ 1436942 w 1632204"/>
                <a:gd name="connsiteY1" fmla="*/ 1173671 h 2667095"/>
                <a:gd name="connsiteX2" fmla="*/ 1436942 w 1632204"/>
                <a:gd name="connsiteY2" fmla="*/ 1152811 h 2667095"/>
                <a:gd name="connsiteX3" fmla="*/ 1496949 w 1632204"/>
                <a:gd name="connsiteY3" fmla="*/ 1092803 h 2667095"/>
                <a:gd name="connsiteX4" fmla="*/ 1629346 w 1632204"/>
                <a:gd name="connsiteY4" fmla="*/ 1092803 h 2667095"/>
                <a:gd name="connsiteX5" fmla="*/ 1629823 w 1632204"/>
                <a:gd name="connsiteY5" fmla="*/ 596932 h 2667095"/>
                <a:gd name="connsiteX6" fmla="*/ 1264444 w 1632204"/>
                <a:gd name="connsiteY6" fmla="*/ 596932 h 2667095"/>
                <a:gd name="connsiteX7" fmla="*/ 1264444 w 1632204"/>
                <a:gd name="connsiteY7" fmla="*/ 96869 h 2667095"/>
                <a:gd name="connsiteX8" fmla="*/ 1167574 w 1632204"/>
                <a:gd name="connsiteY8" fmla="*/ 0 h 2667095"/>
                <a:gd name="connsiteX9" fmla="*/ 0 w 1632204"/>
                <a:gd name="connsiteY9" fmla="*/ 0 h 2667095"/>
                <a:gd name="connsiteX10" fmla="*/ 0 w 1632204"/>
                <a:gd name="connsiteY10" fmla="*/ 285464 h 2667095"/>
                <a:gd name="connsiteX11" fmla="*/ 82296 w 1632204"/>
                <a:gd name="connsiteY11" fmla="*/ 285464 h 2667095"/>
                <a:gd name="connsiteX12" fmla="*/ 218789 w 1632204"/>
                <a:gd name="connsiteY12" fmla="*/ 421958 h 2667095"/>
                <a:gd name="connsiteX13" fmla="*/ 218789 w 1632204"/>
                <a:gd name="connsiteY13" fmla="*/ 599980 h 2667095"/>
                <a:gd name="connsiteX14" fmla="*/ 882587 w 1632204"/>
                <a:gd name="connsiteY14" fmla="*/ 599980 h 2667095"/>
                <a:gd name="connsiteX15" fmla="*/ 879919 w 1632204"/>
                <a:gd name="connsiteY15" fmla="*/ 1064324 h 2667095"/>
                <a:gd name="connsiteX16" fmla="*/ 879919 w 1632204"/>
                <a:gd name="connsiteY16" fmla="*/ 1076516 h 2667095"/>
                <a:gd name="connsiteX17" fmla="*/ 872966 w 1632204"/>
                <a:gd name="connsiteY17" fmla="*/ 1076516 h 2667095"/>
                <a:gd name="connsiteX18" fmla="*/ 864203 w 1632204"/>
                <a:gd name="connsiteY18" fmla="*/ 1076516 h 2667095"/>
                <a:gd name="connsiteX19" fmla="*/ 856011 w 1632204"/>
                <a:gd name="connsiteY19" fmla="*/ 1076897 h 2667095"/>
                <a:gd name="connsiteX20" fmla="*/ 853440 w 1632204"/>
                <a:gd name="connsiteY20" fmla="*/ 1077278 h 2667095"/>
                <a:gd name="connsiteX21" fmla="*/ 848106 w 1632204"/>
                <a:gd name="connsiteY21" fmla="*/ 1078135 h 2667095"/>
                <a:gd name="connsiteX22" fmla="*/ 847439 w 1632204"/>
                <a:gd name="connsiteY22" fmla="*/ 1078325 h 2667095"/>
                <a:gd name="connsiteX23" fmla="*/ 845153 w 1632204"/>
                <a:gd name="connsiteY23" fmla="*/ 1078897 h 2667095"/>
                <a:gd name="connsiteX24" fmla="*/ 840486 w 1632204"/>
                <a:gd name="connsiteY24" fmla="*/ 1080135 h 2667095"/>
                <a:gd name="connsiteX25" fmla="*/ 837438 w 1632204"/>
                <a:gd name="connsiteY25" fmla="*/ 1081183 h 2667095"/>
                <a:gd name="connsiteX26" fmla="*/ 833056 w 1632204"/>
                <a:gd name="connsiteY26" fmla="*/ 1082802 h 2667095"/>
                <a:gd name="connsiteX27" fmla="*/ 830104 w 1632204"/>
                <a:gd name="connsiteY27" fmla="*/ 1084136 h 2667095"/>
                <a:gd name="connsiteX28" fmla="*/ 826008 w 1632204"/>
                <a:gd name="connsiteY28" fmla="*/ 1086136 h 2667095"/>
                <a:gd name="connsiteX29" fmla="*/ 824484 w 1632204"/>
                <a:gd name="connsiteY29" fmla="*/ 1086993 h 2667095"/>
                <a:gd name="connsiteX30" fmla="*/ 823055 w 1632204"/>
                <a:gd name="connsiteY30" fmla="*/ 1087755 h 2667095"/>
                <a:gd name="connsiteX31" fmla="*/ 819150 w 1632204"/>
                <a:gd name="connsiteY31" fmla="*/ 1090136 h 2667095"/>
                <a:gd name="connsiteX32" fmla="*/ 818674 w 1632204"/>
                <a:gd name="connsiteY32" fmla="*/ 1090422 h 2667095"/>
                <a:gd name="connsiteX33" fmla="*/ 816483 w 1632204"/>
                <a:gd name="connsiteY33" fmla="*/ 1091946 h 2667095"/>
                <a:gd name="connsiteX34" fmla="*/ 812768 w 1632204"/>
                <a:gd name="connsiteY34" fmla="*/ 1094708 h 2667095"/>
                <a:gd name="connsiteX35" fmla="*/ 810292 w 1632204"/>
                <a:gd name="connsiteY35" fmla="*/ 1096709 h 2667095"/>
                <a:gd name="connsiteX36" fmla="*/ 806767 w 1632204"/>
                <a:gd name="connsiteY36" fmla="*/ 1099852 h 2667095"/>
                <a:gd name="connsiteX37" fmla="*/ 804577 w 1632204"/>
                <a:gd name="connsiteY37" fmla="*/ 1101947 h 2667095"/>
                <a:gd name="connsiteX38" fmla="*/ 801148 w 1632204"/>
                <a:gd name="connsiteY38" fmla="*/ 1105662 h 2667095"/>
                <a:gd name="connsiteX39" fmla="*/ 799434 w 1632204"/>
                <a:gd name="connsiteY39" fmla="*/ 1107662 h 2667095"/>
                <a:gd name="connsiteX40" fmla="*/ 795909 w 1632204"/>
                <a:gd name="connsiteY40" fmla="*/ 1112330 h 2667095"/>
                <a:gd name="connsiteX41" fmla="*/ 795814 w 1632204"/>
                <a:gd name="connsiteY41" fmla="*/ 1112520 h 2667095"/>
                <a:gd name="connsiteX42" fmla="*/ 794861 w 1632204"/>
                <a:gd name="connsiteY42" fmla="*/ 1113854 h 2667095"/>
                <a:gd name="connsiteX43" fmla="*/ 790765 w 1632204"/>
                <a:gd name="connsiteY43" fmla="*/ 1120521 h 2667095"/>
                <a:gd name="connsiteX44" fmla="*/ 790480 w 1632204"/>
                <a:gd name="connsiteY44" fmla="*/ 1121093 h 2667095"/>
                <a:gd name="connsiteX45" fmla="*/ 787337 w 1632204"/>
                <a:gd name="connsiteY45" fmla="*/ 1127570 h 2667095"/>
                <a:gd name="connsiteX46" fmla="*/ 786479 w 1632204"/>
                <a:gd name="connsiteY46" fmla="*/ 1129951 h 2667095"/>
                <a:gd name="connsiteX47" fmla="*/ 784669 w 1632204"/>
                <a:gd name="connsiteY47" fmla="*/ 1134904 h 2667095"/>
                <a:gd name="connsiteX48" fmla="*/ 783908 w 1632204"/>
                <a:gd name="connsiteY48" fmla="*/ 1137666 h 2667095"/>
                <a:gd name="connsiteX49" fmla="*/ 783908 w 1632204"/>
                <a:gd name="connsiteY49" fmla="*/ 1137857 h 2667095"/>
                <a:gd name="connsiteX50" fmla="*/ 782669 w 1632204"/>
                <a:gd name="connsiteY50" fmla="*/ 1142524 h 2667095"/>
                <a:gd name="connsiteX51" fmla="*/ 782574 w 1632204"/>
                <a:gd name="connsiteY51" fmla="*/ 1143000 h 2667095"/>
                <a:gd name="connsiteX52" fmla="*/ 782098 w 1632204"/>
                <a:gd name="connsiteY52" fmla="*/ 1145762 h 2667095"/>
                <a:gd name="connsiteX53" fmla="*/ 780764 w 1632204"/>
                <a:gd name="connsiteY53" fmla="*/ 1160336 h 2667095"/>
                <a:gd name="connsiteX54" fmla="*/ 709517 w 1632204"/>
                <a:gd name="connsiteY54" fmla="*/ 1218438 h 2667095"/>
                <a:gd name="connsiteX55" fmla="*/ 702850 w 1632204"/>
                <a:gd name="connsiteY55" fmla="*/ 1218819 h 2667095"/>
                <a:gd name="connsiteX56" fmla="*/ 700754 w 1632204"/>
                <a:gd name="connsiteY56" fmla="*/ 1219010 h 2667095"/>
                <a:gd name="connsiteX57" fmla="*/ 699802 w 1632204"/>
                <a:gd name="connsiteY57" fmla="*/ 1219105 h 2667095"/>
                <a:gd name="connsiteX58" fmla="*/ 693801 w 1632204"/>
                <a:gd name="connsiteY58" fmla="*/ 1220057 h 2667095"/>
                <a:gd name="connsiteX59" fmla="*/ 692563 w 1632204"/>
                <a:gd name="connsiteY59" fmla="*/ 1220248 h 2667095"/>
                <a:gd name="connsiteX60" fmla="*/ 627031 w 1632204"/>
                <a:gd name="connsiteY60" fmla="*/ 1290923 h 2667095"/>
                <a:gd name="connsiteX61" fmla="*/ 626745 w 1632204"/>
                <a:gd name="connsiteY61" fmla="*/ 1359884 h 2667095"/>
                <a:gd name="connsiteX62" fmla="*/ 626174 w 1632204"/>
                <a:gd name="connsiteY62" fmla="*/ 1359884 h 2667095"/>
                <a:gd name="connsiteX63" fmla="*/ 626174 w 1632204"/>
                <a:gd name="connsiteY63" fmla="*/ 1359884 h 2667095"/>
                <a:gd name="connsiteX64" fmla="*/ 887349 w 1632204"/>
                <a:gd name="connsiteY64" fmla="*/ 1359884 h 2667095"/>
                <a:gd name="connsiteX65" fmla="*/ 957358 w 1632204"/>
                <a:gd name="connsiteY65" fmla="*/ 1429893 h 2667095"/>
                <a:gd name="connsiteX66" fmla="*/ 957358 w 1632204"/>
                <a:gd name="connsiteY66" fmla="*/ 1454277 h 2667095"/>
                <a:gd name="connsiteX67" fmla="*/ 887349 w 1632204"/>
                <a:gd name="connsiteY67" fmla="*/ 1524286 h 2667095"/>
                <a:gd name="connsiteX68" fmla="*/ 626174 w 1632204"/>
                <a:gd name="connsiteY68" fmla="*/ 1524286 h 2667095"/>
                <a:gd name="connsiteX69" fmla="*/ 626174 w 1632204"/>
                <a:gd name="connsiteY69" fmla="*/ 1814417 h 2667095"/>
                <a:gd name="connsiteX70" fmla="*/ 626174 w 1632204"/>
                <a:gd name="connsiteY70" fmla="*/ 1959959 h 2667095"/>
                <a:gd name="connsiteX71" fmla="*/ 1134046 w 1632204"/>
                <a:gd name="connsiteY71" fmla="*/ 1959959 h 2667095"/>
                <a:gd name="connsiteX72" fmla="*/ 1249204 w 1632204"/>
                <a:gd name="connsiteY72" fmla="*/ 2074259 h 2667095"/>
                <a:gd name="connsiteX73" fmla="*/ 1249204 w 1632204"/>
                <a:gd name="connsiteY73" fmla="*/ 2667095 h 2667095"/>
                <a:gd name="connsiteX74" fmla="*/ 1632204 w 1632204"/>
                <a:gd name="connsiteY74" fmla="*/ 2667095 h 2667095"/>
                <a:gd name="connsiteX75" fmla="*/ 1632204 w 1632204"/>
                <a:gd name="connsiteY75" fmla="*/ 1233678 h 2667095"/>
                <a:gd name="connsiteX76" fmla="*/ 1496949 w 1632204"/>
                <a:gd name="connsiteY76" fmla="*/ 1233678 h 2667095"/>
                <a:gd name="connsiteX77" fmla="*/ 1277398 w 1632204"/>
                <a:gd name="connsiteY77" fmla="*/ 1311974 h 2667095"/>
                <a:gd name="connsiteX78" fmla="*/ 1217390 w 1632204"/>
                <a:gd name="connsiteY78" fmla="*/ 1371981 h 2667095"/>
                <a:gd name="connsiteX79" fmla="*/ 1196530 w 1632204"/>
                <a:gd name="connsiteY79" fmla="*/ 1371981 h 2667095"/>
                <a:gd name="connsiteX80" fmla="*/ 1136523 w 1632204"/>
                <a:gd name="connsiteY80" fmla="*/ 1313117 h 2667095"/>
                <a:gd name="connsiteX81" fmla="*/ 1055560 w 1632204"/>
                <a:gd name="connsiteY81" fmla="*/ 1233583 h 2667095"/>
                <a:gd name="connsiteX82" fmla="*/ 1016222 w 1632204"/>
                <a:gd name="connsiteY82" fmla="*/ 1233583 h 2667095"/>
                <a:gd name="connsiteX83" fmla="*/ 956215 w 1632204"/>
                <a:gd name="connsiteY83" fmla="*/ 1173575 h 2667095"/>
                <a:gd name="connsiteX84" fmla="*/ 956215 w 1632204"/>
                <a:gd name="connsiteY84" fmla="*/ 1152716 h 2667095"/>
                <a:gd name="connsiteX85" fmla="*/ 1016222 w 1632204"/>
                <a:gd name="connsiteY85" fmla="*/ 1092708 h 2667095"/>
                <a:gd name="connsiteX86" fmla="*/ 1181005 w 1632204"/>
                <a:gd name="connsiteY86" fmla="*/ 1092708 h 2667095"/>
                <a:gd name="connsiteX87" fmla="*/ 1189959 w 1632204"/>
                <a:gd name="connsiteY87" fmla="*/ 1092232 h 2667095"/>
                <a:gd name="connsiteX88" fmla="*/ 1196530 w 1632204"/>
                <a:gd name="connsiteY88" fmla="*/ 1091851 h 2667095"/>
                <a:gd name="connsiteX89" fmla="*/ 1217390 w 1632204"/>
                <a:gd name="connsiteY89" fmla="*/ 1091851 h 2667095"/>
                <a:gd name="connsiteX90" fmla="*/ 1277398 w 1632204"/>
                <a:gd name="connsiteY90" fmla="*/ 1151858 h 2667095"/>
                <a:gd name="connsiteX91" fmla="*/ 1277398 w 1632204"/>
                <a:gd name="connsiteY91" fmla="*/ 1311974 h 266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632204" h="2667095">
                  <a:moveTo>
                    <a:pt x="1496949" y="1233678"/>
                  </a:moveTo>
                  <a:cubicBezTo>
                    <a:pt x="1463992" y="1233678"/>
                    <a:pt x="1436942" y="1206627"/>
                    <a:pt x="1436942" y="1173671"/>
                  </a:cubicBezTo>
                  <a:lnTo>
                    <a:pt x="1436942" y="1152811"/>
                  </a:lnTo>
                  <a:cubicBezTo>
                    <a:pt x="1436942" y="1119854"/>
                    <a:pt x="1463897" y="1092803"/>
                    <a:pt x="1496949" y="1092803"/>
                  </a:cubicBezTo>
                  <a:lnTo>
                    <a:pt x="1629346" y="1092803"/>
                  </a:lnTo>
                  <a:lnTo>
                    <a:pt x="1629823" y="596932"/>
                  </a:lnTo>
                  <a:lnTo>
                    <a:pt x="1264444" y="596932"/>
                  </a:lnTo>
                  <a:lnTo>
                    <a:pt x="1264444" y="96869"/>
                  </a:lnTo>
                  <a:cubicBezTo>
                    <a:pt x="1264444" y="43434"/>
                    <a:pt x="1221105" y="0"/>
                    <a:pt x="1167574" y="0"/>
                  </a:cubicBezTo>
                  <a:lnTo>
                    <a:pt x="0" y="0"/>
                  </a:lnTo>
                  <a:lnTo>
                    <a:pt x="0" y="285464"/>
                  </a:lnTo>
                  <a:lnTo>
                    <a:pt x="82296" y="285464"/>
                  </a:lnTo>
                  <a:cubicBezTo>
                    <a:pt x="157734" y="285464"/>
                    <a:pt x="218789" y="346615"/>
                    <a:pt x="218789" y="421958"/>
                  </a:cubicBezTo>
                  <a:lnTo>
                    <a:pt x="218789" y="599980"/>
                  </a:lnTo>
                  <a:lnTo>
                    <a:pt x="882587" y="599980"/>
                  </a:lnTo>
                  <a:cubicBezTo>
                    <a:pt x="882587" y="790861"/>
                    <a:pt x="879634" y="920306"/>
                    <a:pt x="879919" y="1064324"/>
                  </a:cubicBezTo>
                  <a:cubicBezTo>
                    <a:pt x="880967" y="1072229"/>
                    <a:pt x="881062" y="1076516"/>
                    <a:pt x="879919" y="1076516"/>
                  </a:cubicBezTo>
                  <a:lnTo>
                    <a:pt x="872966" y="1076516"/>
                  </a:lnTo>
                  <a:cubicBezTo>
                    <a:pt x="869537" y="1076611"/>
                    <a:pt x="866489" y="1076516"/>
                    <a:pt x="864203" y="1076516"/>
                  </a:cubicBezTo>
                  <a:cubicBezTo>
                    <a:pt x="861441" y="1076516"/>
                    <a:pt x="858679" y="1076706"/>
                    <a:pt x="856011" y="1076897"/>
                  </a:cubicBezTo>
                  <a:cubicBezTo>
                    <a:pt x="855155" y="1076992"/>
                    <a:pt x="854297" y="1077182"/>
                    <a:pt x="853440" y="1077278"/>
                  </a:cubicBezTo>
                  <a:cubicBezTo>
                    <a:pt x="851630" y="1077468"/>
                    <a:pt x="849821" y="1077754"/>
                    <a:pt x="848106" y="1078135"/>
                  </a:cubicBezTo>
                  <a:cubicBezTo>
                    <a:pt x="847915" y="1078135"/>
                    <a:pt x="847630" y="1078230"/>
                    <a:pt x="847439" y="1078325"/>
                  </a:cubicBezTo>
                  <a:cubicBezTo>
                    <a:pt x="846677" y="1078516"/>
                    <a:pt x="845915" y="1078706"/>
                    <a:pt x="845153" y="1078897"/>
                  </a:cubicBezTo>
                  <a:cubicBezTo>
                    <a:pt x="843534" y="1079278"/>
                    <a:pt x="842010" y="1079659"/>
                    <a:pt x="840486" y="1080135"/>
                  </a:cubicBezTo>
                  <a:cubicBezTo>
                    <a:pt x="839438" y="1080421"/>
                    <a:pt x="838486" y="1080802"/>
                    <a:pt x="837438" y="1081183"/>
                  </a:cubicBezTo>
                  <a:cubicBezTo>
                    <a:pt x="836009" y="1081659"/>
                    <a:pt x="834485" y="1082231"/>
                    <a:pt x="833056" y="1082802"/>
                  </a:cubicBezTo>
                  <a:cubicBezTo>
                    <a:pt x="832009" y="1083183"/>
                    <a:pt x="831056" y="1083659"/>
                    <a:pt x="830104" y="1084136"/>
                  </a:cubicBezTo>
                  <a:cubicBezTo>
                    <a:pt x="828675" y="1084802"/>
                    <a:pt x="827342" y="1085374"/>
                    <a:pt x="826008" y="1086136"/>
                  </a:cubicBezTo>
                  <a:cubicBezTo>
                    <a:pt x="825532" y="1086422"/>
                    <a:pt x="825055" y="1086707"/>
                    <a:pt x="824484" y="1086993"/>
                  </a:cubicBezTo>
                  <a:cubicBezTo>
                    <a:pt x="824008" y="1087279"/>
                    <a:pt x="823531" y="1087469"/>
                    <a:pt x="823055" y="1087755"/>
                  </a:cubicBezTo>
                  <a:cubicBezTo>
                    <a:pt x="821722" y="1088517"/>
                    <a:pt x="820483" y="1089279"/>
                    <a:pt x="819150" y="1090136"/>
                  </a:cubicBezTo>
                  <a:cubicBezTo>
                    <a:pt x="818960" y="1090232"/>
                    <a:pt x="818864" y="1090327"/>
                    <a:pt x="818674" y="1090422"/>
                  </a:cubicBezTo>
                  <a:cubicBezTo>
                    <a:pt x="817911" y="1090898"/>
                    <a:pt x="817150" y="1091375"/>
                    <a:pt x="816483" y="1091946"/>
                  </a:cubicBezTo>
                  <a:cubicBezTo>
                    <a:pt x="815245" y="1092803"/>
                    <a:pt x="814006" y="1093756"/>
                    <a:pt x="812768" y="1094708"/>
                  </a:cubicBezTo>
                  <a:cubicBezTo>
                    <a:pt x="811911" y="1095375"/>
                    <a:pt x="811149" y="1095947"/>
                    <a:pt x="810292" y="1096709"/>
                  </a:cubicBezTo>
                  <a:cubicBezTo>
                    <a:pt x="809053" y="1097756"/>
                    <a:pt x="807910" y="1098804"/>
                    <a:pt x="806767" y="1099852"/>
                  </a:cubicBezTo>
                  <a:cubicBezTo>
                    <a:pt x="806005" y="1100519"/>
                    <a:pt x="805339" y="1101185"/>
                    <a:pt x="804577" y="1101947"/>
                  </a:cubicBezTo>
                  <a:cubicBezTo>
                    <a:pt x="803434" y="1103186"/>
                    <a:pt x="802291" y="1104424"/>
                    <a:pt x="801148" y="1105662"/>
                  </a:cubicBezTo>
                  <a:cubicBezTo>
                    <a:pt x="800576" y="1106329"/>
                    <a:pt x="799910" y="1106996"/>
                    <a:pt x="799434" y="1107662"/>
                  </a:cubicBezTo>
                  <a:cubicBezTo>
                    <a:pt x="798195" y="1109186"/>
                    <a:pt x="797052" y="1110710"/>
                    <a:pt x="795909" y="1112330"/>
                  </a:cubicBezTo>
                  <a:cubicBezTo>
                    <a:pt x="795909" y="1112425"/>
                    <a:pt x="795814" y="1112425"/>
                    <a:pt x="795814" y="1112520"/>
                  </a:cubicBezTo>
                  <a:cubicBezTo>
                    <a:pt x="795528" y="1112996"/>
                    <a:pt x="795147" y="1113377"/>
                    <a:pt x="794861" y="1113854"/>
                  </a:cubicBezTo>
                  <a:cubicBezTo>
                    <a:pt x="793433" y="1116044"/>
                    <a:pt x="792004" y="1118235"/>
                    <a:pt x="790765" y="1120521"/>
                  </a:cubicBezTo>
                  <a:cubicBezTo>
                    <a:pt x="790670" y="1120712"/>
                    <a:pt x="790575" y="1120902"/>
                    <a:pt x="790480" y="1121093"/>
                  </a:cubicBezTo>
                  <a:cubicBezTo>
                    <a:pt x="789336" y="1123188"/>
                    <a:pt x="788289" y="1125379"/>
                    <a:pt x="787337" y="1127570"/>
                  </a:cubicBezTo>
                  <a:cubicBezTo>
                    <a:pt x="787051" y="1128332"/>
                    <a:pt x="786765" y="1129094"/>
                    <a:pt x="786479" y="1129951"/>
                  </a:cubicBezTo>
                  <a:cubicBezTo>
                    <a:pt x="785812" y="1131570"/>
                    <a:pt x="785146" y="1133285"/>
                    <a:pt x="784669" y="1134904"/>
                  </a:cubicBezTo>
                  <a:cubicBezTo>
                    <a:pt x="784384" y="1135856"/>
                    <a:pt x="784098" y="1136714"/>
                    <a:pt x="783908" y="1137666"/>
                  </a:cubicBezTo>
                  <a:cubicBezTo>
                    <a:pt x="783908" y="1137761"/>
                    <a:pt x="783908" y="1137761"/>
                    <a:pt x="783908" y="1137857"/>
                  </a:cubicBezTo>
                  <a:cubicBezTo>
                    <a:pt x="783431" y="1139381"/>
                    <a:pt x="783050" y="1141000"/>
                    <a:pt x="782669" y="1142524"/>
                  </a:cubicBezTo>
                  <a:cubicBezTo>
                    <a:pt x="782669" y="1142714"/>
                    <a:pt x="782574" y="1142905"/>
                    <a:pt x="782574" y="1143000"/>
                  </a:cubicBezTo>
                  <a:cubicBezTo>
                    <a:pt x="782383" y="1143953"/>
                    <a:pt x="782193" y="1144810"/>
                    <a:pt x="782098" y="1145762"/>
                  </a:cubicBezTo>
                  <a:cubicBezTo>
                    <a:pt x="781240" y="1150525"/>
                    <a:pt x="780764" y="1155287"/>
                    <a:pt x="780764" y="1160336"/>
                  </a:cubicBezTo>
                  <a:cubicBezTo>
                    <a:pt x="780288" y="1185863"/>
                    <a:pt x="744760" y="1217771"/>
                    <a:pt x="709517" y="1218438"/>
                  </a:cubicBezTo>
                  <a:cubicBezTo>
                    <a:pt x="707231" y="1218438"/>
                    <a:pt x="705040" y="1218628"/>
                    <a:pt x="702850" y="1218819"/>
                  </a:cubicBezTo>
                  <a:cubicBezTo>
                    <a:pt x="702183" y="1218914"/>
                    <a:pt x="701421" y="1218914"/>
                    <a:pt x="700754" y="1219010"/>
                  </a:cubicBezTo>
                  <a:cubicBezTo>
                    <a:pt x="700469" y="1219010"/>
                    <a:pt x="700087" y="1219105"/>
                    <a:pt x="699802" y="1219105"/>
                  </a:cubicBezTo>
                  <a:cubicBezTo>
                    <a:pt x="697801" y="1219391"/>
                    <a:pt x="695801" y="1219676"/>
                    <a:pt x="693801" y="1220057"/>
                  </a:cubicBezTo>
                  <a:cubicBezTo>
                    <a:pt x="693420" y="1220153"/>
                    <a:pt x="692943" y="1220248"/>
                    <a:pt x="692563" y="1220248"/>
                  </a:cubicBezTo>
                  <a:cubicBezTo>
                    <a:pt x="658273" y="1227487"/>
                    <a:pt x="631698" y="1255871"/>
                    <a:pt x="627031" y="1290923"/>
                  </a:cubicBezTo>
                  <a:lnTo>
                    <a:pt x="626745" y="1359884"/>
                  </a:lnTo>
                  <a:lnTo>
                    <a:pt x="626174" y="1359884"/>
                  </a:lnTo>
                  <a:lnTo>
                    <a:pt x="626174" y="1359884"/>
                  </a:lnTo>
                  <a:lnTo>
                    <a:pt x="887349" y="1359884"/>
                  </a:lnTo>
                  <a:cubicBezTo>
                    <a:pt x="925830" y="1359884"/>
                    <a:pt x="957358" y="1391412"/>
                    <a:pt x="957358" y="1429893"/>
                  </a:cubicBezTo>
                  <a:lnTo>
                    <a:pt x="957358" y="1454277"/>
                  </a:lnTo>
                  <a:cubicBezTo>
                    <a:pt x="957358" y="1492758"/>
                    <a:pt x="925830" y="1524286"/>
                    <a:pt x="887349" y="1524286"/>
                  </a:cubicBezTo>
                  <a:lnTo>
                    <a:pt x="626174" y="1524286"/>
                  </a:lnTo>
                  <a:lnTo>
                    <a:pt x="626174" y="1814417"/>
                  </a:lnTo>
                  <a:lnTo>
                    <a:pt x="626174" y="1959959"/>
                  </a:lnTo>
                  <a:lnTo>
                    <a:pt x="1134046" y="1959959"/>
                  </a:lnTo>
                  <a:cubicBezTo>
                    <a:pt x="1197388" y="1959959"/>
                    <a:pt x="1249204" y="2011394"/>
                    <a:pt x="1249204" y="2074259"/>
                  </a:cubicBezTo>
                  <a:lnTo>
                    <a:pt x="1249204" y="2667095"/>
                  </a:lnTo>
                  <a:lnTo>
                    <a:pt x="1632204" y="2667095"/>
                  </a:lnTo>
                  <a:lnTo>
                    <a:pt x="1632204" y="1233678"/>
                  </a:lnTo>
                  <a:lnTo>
                    <a:pt x="1496949" y="1233678"/>
                  </a:lnTo>
                  <a:close/>
                  <a:moveTo>
                    <a:pt x="1277398" y="1311974"/>
                  </a:moveTo>
                  <a:cubicBezTo>
                    <a:pt x="1277398" y="1344930"/>
                    <a:pt x="1250442" y="1371981"/>
                    <a:pt x="1217390" y="1371981"/>
                  </a:cubicBezTo>
                  <a:lnTo>
                    <a:pt x="1196530" y="1371981"/>
                  </a:lnTo>
                  <a:cubicBezTo>
                    <a:pt x="1163955" y="1371981"/>
                    <a:pt x="1137190" y="1345597"/>
                    <a:pt x="1136523" y="1313117"/>
                  </a:cubicBezTo>
                  <a:cubicBezTo>
                    <a:pt x="1135666" y="1269016"/>
                    <a:pt x="1099661" y="1233583"/>
                    <a:pt x="1055560" y="1233583"/>
                  </a:cubicBezTo>
                  <a:lnTo>
                    <a:pt x="1016222" y="1233583"/>
                  </a:lnTo>
                  <a:cubicBezTo>
                    <a:pt x="983266" y="1233583"/>
                    <a:pt x="956215" y="1206627"/>
                    <a:pt x="956215" y="1173575"/>
                  </a:cubicBezTo>
                  <a:lnTo>
                    <a:pt x="956215" y="1152716"/>
                  </a:lnTo>
                  <a:cubicBezTo>
                    <a:pt x="956215" y="1119759"/>
                    <a:pt x="983171" y="1092708"/>
                    <a:pt x="1016222" y="1092708"/>
                  </a:cubicBezTo>
                  <a:lnTo>
                    <a:pt x="1181005" y="1092708"/>
                  </a:lnTo>
                  <a:cubicBezTo>
                    <a:pt x="1184148" y="1092708"/>
                    <a:pt x="1186815" y="1092518"/>
                    <a:pt x="1189959" y="1092232"/>
                  </a:cubicBezTo>
                  <a:cubicBezTo>
                    <a:pt x="1192149" y="1091946"/>
                    <a:pt x="1194340" y="1091851"/>
                    <a:pt x="1196530" y="1091851"/>
                  </a:cubicBezTo>
                  <a:lnTo>
                    <a:pt x="1217390" y="1091851"/>
                  </a:lnTo>
                  <a:cubicBezTo>
                    <a:pt x="1250347" y="1091851"/>
                    <a:pt x="1277398" y="1118807"/>
                    <a:pt x="1277398" y="1151858"/>
                  </a:cubicBezTo>
                  <a:lnTo>
                    <a:pt x="1277398" y="1311974"/>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32" name="Freeform: Shape 131">
              <a:extLst>
                <a:ext uri="{FF2B5EF4-FFF2-40B4-BE49-F238E27FC236}">
                  <a16:creationId xmlns:a16="http://schemas.microsoft.com/office/drawing/2014/main" id="{AC70116A-7652-4811-8D66-234C32436A2F}"/>
                </a:ext>
              </a:extLst>
            </p:cNvPr>
            <p:cNvSpPr/>
            <p:nvPr/>
          </p:nvSpPr>
          <p:spPr>
            <a:xfrm>
              <a:off x="5121228" y="1934892"/>
              <a:ext cx="931164" cy="707326"/>
            </a:xfrm>
            <a:custGeom>
              <a:avLst/>
              <a:gdLst>
                <a:gd name="connsiteX0" fmla="*/ 931164 w 931164"/>
                <a:gd name="connsiteY0" fmla="*/ 114300 h 707326"/>
                <a:gd name="connsiteX1" fmla="*/ 816007 w 931164"/>
                <a:gd name="connsiteY1" fmla="*/ 0 h 707326"/>
                <a:gd name="connsiteX2" fmla="*/ 308134 w 931164"/>
                <a:gd name="connsiteY2" fmla="*/ 0 h 707326"/>
                <a:gd name="connsiteX3" fmla="*/ 308134 w 931164"/>
                <a:gd name="connsiteY3" fmla="*/ 143827 h 707326"/>
                <a:gd name="connsiteX4" fmla="*/ 308229 w 931164"/>
                <a:gd name="connsiteY4" fmla="*/ 143827 h 707326"/>
                <a:gd name="connsiteX5" fmla="*/ 308229 w 931164"/>
                <a:gd name="connsiteY5" fmla="*/ 206883 h 707326"/>
                <a:gd name="connsiteX6" fmla="*/ 308229 w 931164"/>
                <a:gd name="connsiteY6" fmla="*/ 219742 h 707326"/>
                <a:gd name="connsiteX7" fmla="*/ 308229 w 931164"/>
                <a:gd name="connsiteY7" fmla="*/ 227933 h 707326"/>
                <a:gd name="connsiteX8" fmla="*/ 308134 w 931164"/>
                <a:gd name="connsiteY8" fmla="*/ 229171 h 707326"/>
                <a:gd name="connsiteX9" fmla="*/ 308134 w 931164"/>
                <a:gd name="connsiteY9" fmla="*/ 230696 h 707326"/>
                <a:gd name="connsiteX10" fmla="*/ 307943 w 931164"/>
                <a:gd name="connsiteY10" fmla="*/ 232410 h 707326"/>
                <a:gd name="connsiteX11" fmla="*/ 307658 w 931164"/>
                <a:gd name="connsiteY11" fmla="*/ 235363 h 707326"/>
                <a:gd name="connsiteX12" fmla="*/ 307181 w 931164"/>
                <a:gd name="connsiteY12" fmla="*/ 238411 h 707326"/>
                <a:gd name="connsiteX13" fmla="*/ 306610 w 931164"/>
                <a:gd name="connsiteY13" fmla="*/ 241268 h 707326"/>
                <a:gd name="connsiteX14" fmla="*/ 305848 w 931164"/>
                <a:gd name="connsiteY14" fmla="*/ 244221 h 707326"/>
                <a:gd name="connsiteX15" fmla="*/ 304991 w 931164"/>
                <a:gd name="connsiteY15" fmla="*/ 246983 h 707326"/>
                <a:gd name="connsiteX16" fmla="*/ 303943 w 931164"/>
                <a:gd name="connsiteY16" fmla="*/ 249746 h 707326"/>
                <a:gd name="connsiteX17" fmla="*/ 302895 w 931164"/>
                <a:gd name="connsiteY17" fmla="*/ 252413 h 707326"/>
                <a:gd name="connsiteX18" fmla="*/ 301657 w 931164"/>
                <a:gd name="connsiteY18" fmla="*/ 254984 h 707326"/>
                <a:gd name="connsiteX19" fmla="*/ 300324 w 931164"/>
                <a:gd name="connsiteY19" fmla="*/ 257556 h 707326"/>
                <a:gd name="connsiteX20" fmla="*/ 298799 w 931164"/>
                <a:gd name="connsiteY20" fmla="*/ 260032 h 707326"/>
                <a:gd name="connsiteX21" fmla="*/ 297275 w 931164"/>
                <a:gd name="connsiteY21" fmla="*/ 262414 h 707326"/>
                <a:gd name="connsiteX22" fmla="*/ 295561 w 931164"/>
                <a:gd name="connsiteY22" fmla="*/ 264700 h 707326"/>
                <a:gd name="connsiteX23" fmla="*/ 293751 w 931164"/>
                <a:gd name="connsiteY23" fmla="*/ 266986 h 707326"/>
                <a:gd name="connsiteX24" fmla="*/ 291846 w 931164"/>
                <a:gd name="connsiteY24" fmla="*/ 269081 h 707326"/>
                <a:gd name="connsiteX25" fmla="*/ 289846 w 931164"/>
                <a:gd name="connsiteY25" fmla="*/ 271177 h 707326"/>
                <a:gd name="connsiteX26" fmla="*/ 287655 w 931164"/>
                <a:gd name="connsiteY26" fmla="*/ 273082 h 707326"/>
                <a:gd name="connsiteX27" fmla="*/ 285560 w 931164"/>
                <a:gd name="connsiteY27" fmla="*/ 274892 h 707326"/>
                <a:gd name="connsiteX28" fmla="*/ 283179 w 931164"/>
                <a:gd name="connsiteY28" fmla="*/ 276606 h 707326"/>
                <a:gd name="connsiteX29" fmla="*/ 280892 w 931164"/>
                <a:gd name="connsiteY29" fmla="*/ 278225 h 707326"/>
                <a:gd name="connsiteX30" fmla="*/ 278321 w 931164"/>
                <a:gd name="connsiteY30" fmla="*/ 279749 h 707326"/>
                <a:gd name="connsiteX31" fmla="*/ 275940 w 931164"/>
                <a:gd name="connsiteY31" fmla="*/ 281178 h 707326"/>
                <a:gd name="connsiteX32" fmla="*/ 273177 w 931164"/>
                <a:gd name="connsiteY32" fmla="*/ 282511 h 707326"/>
                <a:gd name="connsiteX33" fmla="*/ 270701 w 931164"/>
                <a:gd name="connsiteY33" fmla="*/ 283655 h 707326"/>
                <a:gd name="connsiteX34" fmla="*/ 267653 w 931164"/>
                <a:gd name="connsiteY34" fmla="*/ 284797 h 707326"/>
                <a:gd name="connsiteX35" fmla="*/ 265272 w 931164"/>
                <a:gd name="connsiteY35" fmla="*/ 285655 h 707326"/>
                <a:gd name="connsiteX36" fmla="*/ 261938 w 931164"/>
                <a:gd name="connsiteY36" fmla="*/ 286512 h 707326"/>
                <a:gd name="connsiteX37" fmla="*/ 259556 w 931164"/>
                <a:gd name="connsiteY37" fmla="*/ 287084 h 707326"/>
                <a:gd name="connsiteX38" fmla="*/ 255651 w 931164"/>
                <a:gd name="connsiteY38" fmla="*/ 287655 h 707326"/>
                <a:gd name="connsiteX39" fmla="*/ 253651 w 931164"/>
                <a:gd name="connsiteY39" fmla="*/ 287941 h 707326"/>
                <a:gd name="connsiteX40" fmla="*/ 247555 w 931164"/>
                <a:gd name="connsiteY40" fmla="*/ 288226 h 707326"/>
                <a:gd name="connsiteX41" fmla="*/ 157449 w 931164"/>
                <a:gd name="connsiteY41" fmla="*/ 288226 h 707326"/>
                <a:gd name="connsiteX42" fmla="*/ 157449 w 931164"/>
                <a:gd name="connsiteY42" fmla="*/ 363950 h 707326"/>
                <a:gd name="connsiteX43" fmla="*/ 96964 w 931164"/>
                <a:gd name="connsiteY43" fmla="*/ 424434 h 707326"/>
                <a:gd name="connsiteX44" fmla="*/ 0 w 931164"/>
                <a:gd name="connsiteY44" fmla="*/ 424434 h 707326"/>
                <a:gd name="connsiteX45" fmla="*/ 0 w 931164"/>
                <a:gd name="connsiteY45" fmla="*/ 707326 h 707326"/>
                <a:gd name="connsiteX46" fmla="*/ 930879 w 931164"/>
                <a:gd name="connsiteY46" fmla="*/ 707326 h 707326"/>
                <a:gd name="connsiteX47" fmla="*/ 930879 w 931164"/>
                <a:gd name="connsiteY47" fmla="*/ 114300 h 70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31164" h="707326">
                  <a:moveTo>
                    <a:pt x="931164" y="114300"/>
                  </a:moveTo>
                  <a:cubicBezTo>
                    <a:pt x="931164" y="51435"/>
                    <a:pt x="879348" y="0"/>
                    <a:pt x="816007" y="0"/>
                  </a:cubicBezTo>
                  <a:lnTo>
                    <a:pt x="308134" y="0"/>
                  </a:lnTo>
                  <a:lnTo>
                    <a:pt x="308134" y="143827"/>
                  </a:lnTo>
                  <a:lnTo>
                    <a:pt x="308229" y="143827"/>
                  </a:lnTo>
                  <a:lnTo>
                    <a:pt x="308229" y="206883"/>
                  </a:lnTo>
                  <a:lnTo>
                    <a:pt x="308229" y="219742"/>
                  </a:lnTo>
                  <a:lnTo>
                    <a:pt x="308229" y="227933"/>
                  </a:lnTo>
                  <a:cubicBezTo>
                    <a:pt x="308229" y="228314"/>
                    <a:pt x="308134" y="228790"/>
                    <a:pt x="308134" y="229171"/>
                  </a:cubicBezTo>
                  <a:lnTo>
                    <a:pt x="308134" y="230696"/>
                  </a:lnTo>
                  <a:cubicBezTo>
                    <a:pt x="308134" y="231267"/>
                    <a:pt x="308039" y="231838"/>
                    <a:pt x="307943" y="232410"/>
                  </a:cubicBezTo>
                  <a:cubicBezTo>
                    <a:pt x="307848" y="233363"/>
                    <a:pt x="307753" y="234315"/>
                    <a:pt x="307658" y="235363"/>
                  </a:cubicBezTo>
                  <a:cubicBezTo>
                    <a:pt x="307563" y="236410"/>
                    <a:pt x="307372" y="237363"/>
                    <a:pt x="307181" y="238411"/>
                  </a:cubicBezTo>
                  <a:cubicBezTo>
                    <a:pt x="306991" y="239363"/>
                    <a:pt x="306800" y="240316"/>
                    <a:pt x="306610" y="241268"/>
                  </a:cubicBezTo>
                  <a:cubicBezTo>
                    <a:pt x="306420" y="242221"/>
                    <a:pt x="306134" y="243173"/>
                    <a:pt x="305848" y="244221"/>
                  </a:cubicBezTo>
                  <a:cubicBezTo>
                    <a:pt x="305562" y="245173"/>
                    <a:pt x="305371" y="246031"/>
                    <a:pt x="304991" y="246983"/>
                  </a:cubicBezTo>
                  <a:cubicBezTo>
                    <a:pt x="304705" y="247936"/>
                    <a:pt x="304324" y="248793"/>
                    <a:pt x="303943" y="249746"/>
                  </a:cubicBezTo>
                  <a:cubicBezTo>
                    <a:pt x="303562" y="250603"/>
                    <a:pt x="303276" y="251555"/>
                    <a:pt x="302895" y="252413"/>
                  </a:cubicBezTo>
                  <a:cubicBezTo>
                    <a:pt x="302514" y="253270"/>
                    <a:pt x="302038" y="254127"/>
                    <a:pt x="301657" y="254984"/>
                  </a:cubicBezTo>
                  <a:cubicBezTo>
                    <a:pt x="301180" y="255842"/>
                    <a:pt x="300800" y="256699"/>
                    <a:pt x="300324" y="257556"/>
                  </a:cubicBezTo>
                  <a:cubicBezTo>
                    <a:pt x="299847" y="258413"/>
                    <a:pt x="299371" y="259175"/>
                    <a:pt x="298799" y="260032"/>
                  </a:cubicBezTo>
                  <a:cubicBezTo>
                    <a:pt x="298323" y="260794"/>
                    <a:pt x="297752" y="261652"/>
                    <a:pt x="297275" y="262414"/>
                  </a:cubicBezTo>
                  <a:cubicBezTo>
                    <a:pt x="296704" y="263176"/>
                    <a:pt x="296133" y="263938"/>
                    <a:pt x="295561" y="264700"/>
                  </a:cubicBezTo>
                  <a:cubicBezTo>
                    <a:pt x="294990" y="265462"/>
                    <a:pt x="294418" y="266224"/>
                    <a:pt x="293751" y="266986"/>
                  </a:cubicBezTo>
                  <a:cubicBezTo>
                    <a:pt x="293180" y="267748"/>
                    <a:pt x="292513" y="268414"/>
                    <a:pt x="291846" y="269081"/>
                  </a:cubicBezTo>
                  <a:cubicBezTo>
                    <a:pt x="291179" y="269748"/>
                    <a:pt x="290513" y="270510"/>
                    <a:pt x="289846" y="271177"/>
                  </a:cubicBezTo>
                  <a:cubicBezTo>
                    <a:pt x="289179" y="271843"/>
                    <a:pt x="288417" y="272510"/>
                    <a:pt x="287655" y="273082"/>
                  </a:cubicBezTo>
                  <a:cubicBezTo>
                    <a:pt x="286988" y="273748"/>
                    <a:pt x="286227" y="274320"/>
                    <a:pt x="285560" y="274892"/>
                  </a:cubicBezTo>
                  <a:cubicBezTo>
                    <a:pt x="284798" y="275463"/>
                    <a:pt x="284036" y="276034"/>
                    <a:pt x="283179" y="276606"/>
                  </a:cubicBezTo>
                  <a:cubicBezTo>
                    <a:pt x="282416" y="277177"/>
                    <a:pt x="281654" y="277749"/>
                    <a:pt x="280892" y="278225"/>
                  </a:cubicBezTo>
                  <a:cubicBezTo>
                    <a:pt x="280035" y="278797"/>
                    <a:pt x="279178" y="279273"/>
                    <a:pt x="278321" y="279749"/>
                  </a:cubicBezTo>
                  <a:cubicBezTo>
                    <a:pt x="277559" y="280225"/>
                    <a:pt x="276796" y="280702"/>
                    <a:pt x="275940" y="281178"/>
                  </a:cubicBezTo>
                  <a:cubicBezTo>
                    <a:pt x="274987" y="281654"/>
                    <a:pt x="274130" y="282130"/>
                    <a:pt x="273177" y="282511"/>
                  </a:cubicBezTo>
                  <a:cubicBezTo>
                    <a:pt x="272320" y="282892"/>
                    <a:pt x="271558" y="283273"/>
                    <a:pt x="270701" y="283655"/>
                  </a:cubicBezTo>
                  <a:cubicBezTo>
                    <a:pt x="269748" y="284035"/>
                    <a:pt x="268700" y="284417"/>
                    <a:pt x="267653" y="284797"/>
                  </a:cubicBezTo>
                  <a:cubicBezTo>
                    <a:pt x="266891" y="285083"/>
                    <a:pt x="266033" y="285369"/>
                    <a:pt x="265272" y="285655"/>
                  </a:cubicBezTo>
                  <a:cubicBezTo>
                    <a:pt x="264129" y="286036"/>
                    <a:pt x="263080" y="286226"/>
                    <a:pt x="261938" y="286512"/>
                  </a:cubicBezTo>
                  <a:cubicBezTo>
                    <a:pt x="261176" y="286702"/>
                    <a:pt x="260414" y="286988"/>
                    <a:pt x="259556" y="287084"/>
                  </a:cubicBezTo>
                  <a:cubicBezTo>
                    <a:pt x="258223" y="287369"/>
                    <a:pt x="256890" y="287464"/>
                    <a:pt x="255651" y="287655"/>
                  </a:cubicBezTo>
                  <a:cubicBezTo>
                    <a:pt x="254984" y="287750"/>
                    <a:pt x="254318" y="287846"/>
                    <a:pt x="253651" y="287941"/>
                  </a:cubicBezTo>
                  <a:cubicBezTo>
                    <a:pt x="251651" y="288131"/>
                    <a:pt x="249650" y="288226"/>
                    <a:pt x="247555" y="288226"/>
                  </a:cubicBezTo>
                  <a:lnTo>
                    <a:pt x="157449" y="288226"/>
                  </a:lnTo>
                  <a:lnTo>
                    <a:pt x="157449" y="363950"/>
                  </a:lnTo>
                  <a:cubicBezTo>
                    <a:pt x="157449" y="397192"/>
                    <a:pt x="130207" y="424434"/>
                    <a:pt x="96964" y="424434"/>
                  </a:cubicBezTo>
                  <a:lnTo>
                    <a:pt x="0" y="424434"/>
                  </a:lnTo>
                  <a:lnTo>
                    <a:pt x="0" y="707326"/>
                  </a:lnTo>
                  <a:lnTo>
                    <a:pt x="930879" y="707326"/>
                  </a:lnTo>
                  <a:lnTo>
                    <a:pt x="930879" y="11430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33" name="Freeform: Shape 132">
              <a:extLst>
                <a:ext uri="{FF2B5EF4-FFF2-40B4-BE49-F238E27FC236}">
                  <a16:creationId xmlns:a16="http://schemas.microsoft.com/office/drawing/2014/main" id="{B3880A1B-9EB4-45B9-9C91-A7B0300BDEE2}"/>
                </a:ext>
              </a:extLst>
            </p:cNvPr>
            <p:cNvSpPr/>
            <p:nvPr/>
          </p:nvSpPr>
          <p:spPr>
            <a:xfrm>
              <a:off x="4648978" y="4562649"/>
              <a:ext cx="325278" cy="429958"/>
            </a:xfrm>
            <a:custGeom>
              <a:avLst/>
              <a:gdLst>
                <a:gd name="connsiteX0" fmla="*/ 211741 w 325278"/>
                <a:gd name="connsiteY0" fmla="*/ 95 h 429958"/>
                <a:gd name="connsiteX1" fmla="*/ 172593 w 325278"/>
                <a:gd name="connsiteY1" fmla="*/ 95 h 429958"/>
                <a:gd name="connsiteX2" fmla="*/ 107252 w 325278"/>
                <a:gd name="connsiteY2" fmla="*/ 95 h 429958"/>
                <a:gd name="connsiteX3" fmla="*/ 95155 w 325278"/>
                <a:gd name="connsiteY3" fmla="*/ 95 h 429958"/>
                <a:gd name="connsiteX4" fmla="*/ 0 w 325278"/>
                <a:gd name="connsiteY4" fmla="*/ 95 h 429958"/>
                <a:gd name="connsiteX5" fmla="*/ 11621 w 325278"/>
                <a:gd name="connsiteY5" fmla="*/ 34004 h 429958"/>
                <a:gd name="connsiteX6" fmla="*/ 11049 w 325278"/>
                <a:gd name="connsiteY6" fmla="*/ 232791 h 429958"/>
                <a:gd name="connsiteX7" fmla="*/ 11049 w 325278"/>
                <a:gd name="connsiteY7" fmla="*/ 236315 h 429958"/>
                <a:gd name="connsiteX8" fmla="*/ 11049 w 325278"/>
                <a:gd name="connsiteY8" fmla="*/ 237839 h 429958"/>
                <a:gd name="connsiteX9" fmla="*/ 11049 w 325278"/>
                <a:gd name="connsiteY9" fmla="*/ 237839 h 429958"/>
                <a:gd name="connsiteX10" fmla="*/ 11144 w 325278"/>
                <a:gd name="connsiteY10" fmla="*/ 239268 h 429958"/>
                <a:gd name="connsiteX11" fmla="*/ 11144 w 325278"/>
                <a:gd name="connsiteY11" fmla="*/ 239268 h 429958"/>
                <a:gd name="connsiteX12" fmla="*/ 11239 w 325278"/>
                <a:gd name="connsiteY12" fmla="*/ 240697 h 429958"/>
                <a:gd name="connsiteX13" fmla="*/ 11239 w 325278"/>
                <a:gd name="connsiteY13" fmla="*/ 240697 h 429958"/>
                <a:gd name="connsiteX14" fmla="*/ 11335 w 325278"/>
                <a:gd name="connsiteY14" fmla="*/ 242126 h 429958"/>
                <a:gd name="connsiteX15" fmla="*/ 11335 w 325278"/>
                <a:gd name="connsiteY15" fmla="*/ 242126 h 429958"/>
                <a:gd name="connsiteX16" fmla="*/ 11525 w 325278"/>
                <a:gd name="connsiteY16" fmla="*/ 243554 h 429958"/>
                <a:gd name="connsiteX17" fmla="*/ 11525 w 325278"/>
                <a:gd name="connsiteY17" fmla="*/ 243554 h 429958"/>
                <a:gd name="connsiteX18" fmla="*/ 11716 w 325278"/>
                <a:gd name="connsiteY18" fmla="*/ 244983 h 429958"/>
                <a:gd name="connsiteX19" fmla="*/ 11716 w 325278"/>
                <a:gd name="connsiteY19" fmla="*/ 244983 h 429958"/>
                <a:gd name="connsiteX20" fmla="*/ 12002 w 325278"/>
                <a:gd name="connsiteY20" fmla="*/ 246412 h 429958"/>
                <a:gd name="connsiteX21" fmla="*/ 12002 w 325278"/>
                <a:gd name="connsiteY21" fmla="*/ 246412 h 429958"/>
                <a:gd name="connsiteX22" fmla="*/ 12287 w 325278"/>
                <a:gd name="connsiteY22" fmla="*/ 247841 h 429958"/>
                <a:gd name="connsiteX23" fmla="*/ 12287 w 325278"/>
                <a:gd name="connsiteY23" fmla="*/ 247841 h 429958"/>
                <a:gd name="connsiteX24" fmla="*/ 12573 w 325278"/>
                <a:gd name="connsiteY24" fmla="*/ 249269 h 429958"/>
                <a:gd name="connsiteX25" fmla="*/ 12573 w 325278"/>
                <a:gd name="connsiteY25" fmla="*/ 249269 h 429958"/>
                <a:gd name="connsiteX26" fmla="*/ 12954 w 325278"/>
                <a:gd name="connsiteY26" fmla="*/ 250698 h 429958"/>
                <a:gd name="connsiteX27" fmla="*/ 12954 w 325278"/>
                <a:gd name="connsiteY27" fmla="*/ 250698 h 429958"/>
                <a:gd name="connsiteX28" fmla="*/ 64294 w 325278"/>
                <a:gd name="connsiteY28" fmla="*/ 293751 h 429958"/>
                <a:gd name="connsiteX29" fmla="*/ 64294 w 325278"/>
                <a:gd name="connsiteY29" fmla="*/ 293751 h 429958"/>
                <a:gd name="connsiteX30" fmla="*/ 65722 w 325278"/>
                <a:gd name="connsiteY30" fmla="*/ 293846 h 429958"/>
                <a:gd name="connsiteX31" fmla="*/ 65722 w 325278"/>
                <a:gd name="connsiteY31" fmla="*/ 293846 h 429958"/>
                <a:gd name="connsiteX32" fmla="*/ 66199 w 325278"/>
                <a:gd name="connsiteY32" fmla="*/ 293846 h 429958"/>
                <a:gd name="connsiteX33" fmla="*/ 69342 w 325278"/>
                <a:gd name="connsiteY33" fmla="*/ 293941 h 429958"/>
                <a:gd name="connsiteX34" fmla="*/ 76771 w 325278"/>
                <a:gd name="connsiteY34" fmla="*/ 293941 h 429958"/>
                <a:gd name="connsiteX35" fmla="*/ 157734 w 325278"/>
                <a:gd name="connsiteY35" fmla="*/ 374904 h 429958"/>
                <a:gd name="connsiteX36" fmla="*/ 157734 w 325278"/>
                <a:gd name="connsiteY36" fmla="*/ 429959 h 429958"/>
                <a:gd name="connsiteX37" fmla="*/ 268510 w 325278"/>
                <a:gd name="connsiteY37" fmla="*/ 429959 h 429958"/>
                <a:gd name="connsiteX38" fmla="*/ 325279 w 325278"/>
                <a:gd name="connsiteY38" fmla="*/ 381476 h 429958"/>
                <a:gd name="connsiteX39" fmla="*/ 325279 w 325278"/>
                <a:gd name="connsiteY39" fmla="*/ 0 h 429958"/>
                <a:gd name="connsiteX40" fmla="*/ 211741 w 325278"/>
                <a:gd name="connsiteY40" fmla="*/ 0 h 42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5278" h="429958">
                  <a:moveTo>
                    <a:pt x="211741" y="95"/>
                  </a:moveTo>
                  <a:lnTo>
                    <a:pt x="172593" y="95"/>
                  </a:lnTo>
                  <a:lnTo>
                    <a:pt x="107252" y="95"/>
                  </a:lnTo>
                  <a:lnTo>
                    <a:pt x="95155" y="95"/>
                  </a:lnTo>
                  <a:lnTo>
                    <a:pt x="0" y="95"/>
                  </a:lnTo>
                  <a:cubicBezTo>
                    <a:pt x="7239" y="7906"/>
                    <a:pt x="11716" y="18764"/>
                    <a:pt x="11621" y="34004"/>
                  </a:cubicBezTo>
                  <a:lnTo>
                    <a:pt x="11049" y="232791"/>
                  </a:lnTo>
                  <a:lnTo>
                    <a:pt x="11049" y="236315"/>
                  </a:lnTo>
                  <a:lnTo>
                    <a:pt x="11049" y="237839"/>
                  </a:lnTo>
                  <a:lnTo>
                    <a:pt x="11049" y="237839"/>
                  </a:lnTo>
                  <a:lnTo>
                    <a:pt x="11144" y="239268"/>
                  </a:lnTo>
                  <a:lnTo>
                    <a:pt x="11144" y="239268"/>
                  </a:lnTo>
                  <a:lnTo>
                    <a:pt x="11239" y="240697"/>
                  </a:lnTo>
                  <a:lnTo>
                    <a:pt x="11239" y="240697"/>
                  </a:lnTo>
                  <a:lnTo>
                    <a:pt x="11335" y="242126"/>
                  </a:lnTo>
                  <a:lnTo>
                    <a:pt x="11335" y="242126"/>
                  </a:lnTo>
                  <a:lnTo>
                    <a:pt x="11525" y="243554"/>
                  </a:lnTo>
                  <a:lnTo>
                    <a:pt x="11525" y="243554"/>
                  </a:lnTo>
                  <a:lnTo>
                    <a:pt x="11716" y="244983"/>
                  </a:lnTo>
                  <a:lnTo>
                    <a:pt x="11716" y="244983"/>
                  </a:lnTo>
                  <a:lnTo>
                    <a:pt x="12002" y="246412"/>
                  </a:lnTo>
                  <a:lnTo>
                    <a:pt x="12002" y="246412"/>
                  </a:lnTo>
                  <a:cubicBezTo>
                    <a:pt x="12097" y="246888"/>
                    <a:pt x="12192" y="247364"/>
                    <a:pt x="12287" y="247841"/>
                  </a:cubicBezTo>
                  <a:lnTo>
                    <a:pt x="12287" y="247841"/>
                  </a:lnTo>
                  <a:lnTo>
                    <a:pt x="12573" y="249269"/>
                  </a:lnTo>
                  <a:lnTo>
                    <a:pt x="12573" y="249269"/>
                  </a:lnTo>
                  <a:lnTo>
                    <a:pt x="12954" y="250698"/>
                  </a:lnTo>
                  <a:lnTo>
                    <a:pt x="12954" y="250698"/>
                  </a:lnTo>
                  <a:cubicBezTo>
                    <a:pt x="19145" y="273844"/>
                    <a:pt x="39434" y="291655"/>
                    <a:pt x="64294" y="293751"/>
                  </a:cubicBezTo>
                  <a:lnTo>
                    <a:pt x="64294" y="293751"/>
                  </a:lnTo>
                  <a:lnTo>
                    <a:pt x="65722" y="293846"/>
                  </a:lnTo>
                  <a:lnTo>
                    <a:pt x="65722" y="293846"/>
                  </a:lnTo>
                  <a:lnTo>
                    <a:pt x="66199" y="293846"/>
                  </a:lnTo>
                  <a:cubicBezTo>
                    <a:pt x="67342" y="293846"/>
                    <a:pt x="68199" y="293941"/>
                    <a:pt x="69342" y="293941"/>
                  </a:cubicBezTo>
                  <a:lnTo>
                    <a:pt x="76771" y="293941"/>
                  </a:lnTo>
                  <a:cubicBezTo>
                    <a:pt x="121349" y="293941"/>
                    <a:pt x="157734" y="330327"/>
                    <a:pt x="157734" y="374904"/>
                  </a:cubicBezTo>
                  <a:lnTo>
                    <a:pt x="157734" y="429959"/>
                  </a:lnTo>
                  <a:lnTo>
                    <a:pt x="268510" y="429959"/>
                  </a:lnTo>
                  <a:cubicBezTo>
                    <a:pt x="297085" y="429959"/>
                    <a:pt x="320898" y="408813"/>
                    <a:pt x="325279" y="381476"/>
                  </a:cubicBezTo>
                  <a:cubicBezTo>
                    <a:pt x="325279" y="381476"/>
                    <a:pt x="325279" y="80201"/>
                    <a:pt x="325279" y="0"/>
                  </a:cubicBezTo>
                  <a:lnTo>
                    <a:pt x="211741"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34" name="Freeform: Shape 133">
              <a:extLst>
                <a:ext uri="{FF2B5EF4-FFF2-40B4-BE49-F238E27FC236}">
                  <a16:creationId xmlns:a16="http://schemas.microsoft.com/office/drawing/2014/main" id="{5BC2B00C-9F8A-4C22-AADA-E14BA6C13698}"/>
                </a:ext>
              </a:extLst>
            </p:cNvPr>
            <p:cNvSpPr/>
            <p:nvPr/>
          </p:nvSpPr>
          <p:spPr>
            <a:xfrm>
              <a:off x="4486386" y="4284043"/>
              <a:ext cx="276796" cy="278606"/>
            </a:xfrm>
            <a:custGeom>
              <a:avLst/>
              <a:gdLst>
                <a:gd name="connsiteX0" fmla="*/ 115158 w 276796"/>
                <a:gd name="connsiteY0" fmla="*/ 95 h 278606"/>
                <a:gd name="connsiteX1" fmla="*/ 0 w 276796"/>
                <a:gd name="connsiteY1" fmla="*/ 114395 h 278606"/>
                <a:gd name="connsiteX2" fmla="*/ 0 w 276796"/>
                <a:gd name="connsiteY2" fmla="*/ 164402 h 278606"/>
                <a:gd name="connsiteX3" fmla="*/ 191 w 276796"/>
                <a:gd name="connsiteY3" fmla="*/ 167545 h 278606"/>
                <a:gd name="connsiteX4" fmla="*/ 0 w 276796"/>
                <a:gd name="connsiteY4" fmla="*/ 170688 h 278606"/>
                <a:gd name="connsiteX5" fmla="*/ 0 w 276796"/>
                <a:gd name="connsiteY5" fmla="*/ 278606 h 278606"/>
                <a:gd name="connsiteX6" fmla="*/ 115158 w 276796"/>
                <a:gd name="connsiteY6" fmla="*/ 278606 h 278606"/>
                <a:gd name="connsiteX7" fmla="*/ 154305 w 276796"/>
                <a:gd name="connsiteY7" fmla="*/ 278606 h 278606"/>
                <a:gd name="connsiteX8" fmla="*/ 276797 w 276796"/>
                <a:gd name="connsiteY8" fmla="*/ 278606 h 278606"/>
                <a:gd name="connsiteX9" fmla="*/ 276797 w 276796"/>
                <a:gd name="connsiteY9" fmla="*/ 0 h 278606"/>
                <a:gd name="connsiteX10" fmla="*/ 115158 w 276796"/>
                <a:gd name="connsiteY10" fmla="*/ 0 h 2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796" h="278606">
                  <a:moveTo>
                    <a:pt x="115158" y="95"/>
                  </a:moveTo>
                  <a:cubicBezTo>
                    <a:pt x="51816" y="95"/>
                    <a:pt x="0" y="51530"/>
                    <a:pt x="0" y="114395"/>
                  </a:cubicBezTo>
                  <a:lnTo>
                    <a:pt x="0" y="164402"/>
                  </a:lnTo>
                  <a:cubicBezTo>
                    <a:pt x="0" y="165449"/>
                    <a:pt x="95" y="166497"/>
                    <a:pt x="191" y="167545"/>
                  </a:cubicBezTo>
                  <a:cubicBezTo>
                    <a:pt x="95" y="168593"/>
                    <a:pt x="0" y="169640"/>
                    <a:pt x="0" y="170688"/>
                  </a:cubicBezTo>
                  <a:lnTo>
                    <a:pt x="0" y="278606"/>
                  </a:lnTo>
                  <a:lnTo>
                    <a:pt x="115158" y="278606"/>
                  </a:lnTo>
                  <a:lnTo>
                    <a:pt x="154305" y="278606"/>
                  </a:lnTo>
                  <a:lnTo>
                    <a:pt x="276797" y="278606"/>
                  </a:lnTo>
                  <a:lnTo>
                    <a:pt x="276797" y="0"/>
                  </a:lnTo>
                  <a:lnTo>
                    <a:pt x="11515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35" name="Freeform: Shape 134">
              <a:extLst>
                <a:ext uri="{FF2B5EF4-FFF2-40B4-BE49-F238E27FC236}">
                  <a16:creationId xmlns:a16="http://schemas.microsoft.com/office/drawing/2014/main" id="{A918E8A8-378C-4B35-8CB9-04D03B86D1E2}"/>
                </a:ext>
              </a:extLst>
            </p:cNvPr>
            <p:cNvSpPr/>
            <p:nvPr/>
          </p:nvSpPr>
          <p:spPr>
            <a:xfrm>
              <a:off x="4651074" y="3828367"/>
              <a:ext cx="633888" cy="734377"/>
            </a:xfrm>
            <a:custGeom>
              <a:avLst/>
              <a:gdLst>
                <a:gd name="connsiteX0" fmla="*/ 575024 w 633888"/>
                <a:gd name="connsiteY0" fmla="*/ 0 h 734377"/>
                <a:gd name="connsiteX1" fmla="*/ 472916 w 633888"/>
                <a:gd name="connsiteY1" fmla="*/ 0 h 734377"/>
                <a:gd name="connsiteX2" fmla="*/ 273463 w 633888"/>
                <a:gd name="connsiteY2" fmla="*/ 0 h 734377"/>
                <a:gd name="connsiteX3" fmla="*/ 247079 w 633888"/>
                <a:gd name="connsiteY3" fmla="*/ 0 h 734377"/>
                <a:gd name="connsiteX4" fmla="*/ 233648 w 633888"/>
                <a:gd name="connsiteY4" fmla="*/ 857 h 734377"/>
                <a:gd name="connsiteX5" fmla="*/ 82487 w 633888"/>
                <a:gd name="connsiteY5" fmla="*/ 1238 h 734377"/>
                <a:gd name="connsiteX6" fmla="*/ 762 w 633888"/>
                <a:gd name="connsiteY6" fmla="*/ 762 h 734377"/>
                <a:gd name="connsiteX7" fmla="*/ 762 w 633888"/>
                <a:gd name="connsiteY7" fmla="*/ 141637 h 734377"/>
                <a:gd name="connsiteX8" fmla="*/ 0 w 633888"/>
                <a:gd name="connsiteY8" fmla="*/ 141637 h 734377"/>
                <a:gd name="connsiteX9" fmla="*/ 0 w 633888"/>
                <a:gd name="connsiteY9" fmla="*/ 455771 h 734377"/>
                <a:gd name="connsiteX10" fmla="*/ 93250 w 633888"/>
                <a:gd name="connsiteY10" fmla="*/ 455771 h 734377"/>
                <a:gd name="connsiteX11" fmla="*/ 105346 w 633888"/>
                <a:gd name="connsiteY11" fmla="*/ 455771 h 734377"/>
                <a:gd name="connsiteX12" fmla="*/ 110776 w 633888"/>
                <a:gd name="connsiteY12" fmla="*/ 455771 h 734377"/>
                <a:gd name="connsiteX13" fmla="*/ 110776 w 633888"/>
                <a:gd name="connsiteY13" fmla="*/ 734378 h 734377"/>
                <a:gd name="connsiteX14" fmla="*/ 182309 w 633888"/>
                <a:gd name="connsiteY14" fmla="*/ 734378 h 734377"/>
                <a:gd name="connsiteX15" fmla="*/ 218504 w 633888"/>
                <a:gd name="connsiteY15" fmla="*/ 734378 h 734377"/>
                <a:gd name="connsiteX16" fmla="*/ 324993 w 633888"/>
                <a:gd name="connsiteY16" fmla="*/ 734378 h 734377"/>
                <a:gd name="connsiteX17" fmla="*/ 324993 w 633888"/>
                <a:gd name="connsiteY17" fmla="*/ 711232 h 734377"/>
                <a:gd name="connsiteX18" fmla="*/ 437674 w 633888"/>
                <a:gd name="connsiteY18" fmla="*/ 615029 h 734377"/>
                <a:gd name="connsiteX19" fmla="*/ 633889 w 633888"/>
                <a:gd name="connsiteY19" fmla="*/ 615029 h 734377"/>
                <a:gd name="connsiteX20" fmla="*/ 633889 w 633888"/>
                <a:gd name="connsiteY20" fmla="*/ 512731 h 734377"/>
                <a:gd name="connsiteX21" fmla="*/ 633889 w 633888"/>
                <a:gd name="connsiteY21" fmla="*/ 232886 h 734377"/>
                <a:gd name="connsiteX22" fmla="*/ 633889 w 633888"/>
                <a:gd name="connsiteY22" fmla="*/ 58769 h 734377"/>
                <a:gd name="connsiteX23" fmla="*/ 575024 w 633888"/>
                <a:gd name="connsiteY23" fmla="*/ 0 h 73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3888" h="734377">
                  <a:moveTo>
                    <a:pt x="575024" y="0"/>
                  </a:moveTo>
                  <a:lnTo>
                    <a:pt x="472916" y="0"/>
                  </a:lnTo>
                  <a:lnTo>
                    <a:pt x="273463" y="0"/>
                  </a:lnTo>
                  <a:lnTo>
                    <a:pt x="247079" y="0"/>
                  </a:lnTo>
                  <a:cubicBezTo>
                    <a:pt x="242506" y="0"/>
                    <a:pt x="238030" y="381"/>
                    <a:pt x="233648" y="857"/>
                  </a:cubicBezTo>
                  <a:lnTo>
                    <a:pt x="82487" y="1238"/>
                  </a:lnTo>
                  <a:lnTo>
                    <a:pt x="762" y="762"/>
                  </a:lnTo>
                  <a:lnTo>
                    <a:pt x="762" y="141637"/>
                  </a:lnTo>
                  <a:lnTo>
                    <a:pt x="0" y="141637"/>
                  </a:lnTo>
                  <a:lnTo>
                    <a:pt x="0" y="455771"/>
                  </a:lnTo>
                  <a:lnTo>
                    <a:pt x="93250" y="455771"/>
                  </a:lnTo>
                  <a:lnTo>
                    <a:pt x="105346" y="455771"/>
                  </a:lnTo>
                  <a:lnTo>
                    <a:pt x="110776" y="455771"/>
                  </a:lnTo>
                  <a:lnTo>
                    <a:pt x="110776" y="734378"/>
                  </a:lnTo>
                  <a:lnTo>
                    <a:pt x="182309" y="734378"/>
                  </a:lnTo>
                  <a:lnTo>
                    <a:pt x="218504" y="734378"/>
                  </a:lnTo>
                  <a:lnTo>
                    <a:pt x="324993" y="734378"/>
                  </a:lnTo>
                  <a:lnTo>
                    <a:pt x="324993" y="711232"/>
                  </a:lnTo>
                  <a:cubicBezTo>
                    <a:pt x="333756" y="656939"/>
                    <a:pt x="381000" y="615029"/>
                    <a:pt x="437674" y="615029"/>
                  </a:cubicBezTo>
                  <a:lnTo>
                    <a:pt x="633889" y="615029"/>
                  </a:lnTo>
                  <a:lnTo>
                    <a:pt x="633889" y="512731"/>
                  </a:lnTo>
                  <a:lnTo>
                    <a:pt x="633889" y="232886"/>
                  </a:lnTo>
                  <a:lnTo>
                    <a:pt x="633889" y="58769"/>
                  </a:lnTo>
                  <a:cubicBezTo>
                    <a:pt x="633699" y="26384"/>
                    <a:pt x="607314" y="0"/>
                    <a:pt x="575024" y="0"/>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grpSp>
      <p:sp>
        <p:nvSpPr>
          <p:cNvPr id="8" name="Footer Placeholder 7">
            <a:extLst>
              <a:ext uri="{FF2B5EF4-FFF2-40B4-BE49-F238E27FC236}">
                <a16:creationId xmlns:a16="http://schemas.microsoft.com/office/drawing/2014/main" id="{5628CF29-3142-8B4B-BA3F-FDB831D3CA22}"/>
              </a:ext>
            </a:extLst>
          </p:cNvPr>
          <p:cNvSpPr>
            <a:spLocks noGrp="1"/>
          </p:cNvSpPr>
          <p:nvPr>
            <p:ph type="ftr" sz="quarter" idx="3"/>
          </p:nvPr>
        </p:nvSpPr>
        <p:spPr>
          <a:xfrm>
            <a:off x="539999" y="6553200"/>
            <a:ext cx="3343275" cy="273089"/>
          </a:xfrm>
          <a:prstGeom prst="rect">
            <a:avLst/>
          </a:prstGeom>
        </p:spPr>
        <p:txBody>
          <a:bodyPr vert="horz" lIns="72000" tIns="45720" rIns="72000" bIns="45720" rtlCol="0" anchor="ctr"/>
          <a:lstStyle>
            <a:lvl1pPr algn="l">
              <a:defRPr lang="en-GB" sz="900" b="0" i="0" dirty="0">
                <a:solidFill>
                  <a:schemeClr val="bg1">
                    <a:lumMod val="50000"/>
                  </a:schemeClr>
                </a:solidFill>
                <a:latin typeface="+mn-lt"/>
                <a:ea typeface="Arial Unicode MS" panose="020B0604020202020204" pitchFamily="34" charset="-128"/>
                <a:cs typeface="Arial" panose="020B0604020202020204" pitchFamily="34" charset="0"/>
              </a:defRPr>
            </a:lvl1pPr>
          </a:lstStyle>
          <a:p>
            <a:r>
              <a:rPr lang="en-GB"/>
              <a:t>Core | DD/MM/YYYY</a:t>
            </a:r>
            <a:endParaRPr lang="en-NL" dirty="0"/>
          </a:p>
        </p:txBody>
      </p:sp>
    </p:spTree>
    <p:extLst>
      <p:ext uri="{BB962C8B-B14F-4D97-AF65-F5344CB8AC3E}">
        <p14:creationId xmlns:p14="http://schemas.microsoft.com/office/powerpoint/2010/main" val="2314487004"/>
      </p:ext>
    </p:extLst>
  </p:cSld>
  <p:clrMap bg1="lt1" tx1="dk1" bg2="lt2" tx2="dk2" accent1="accent1" accent2="accent2" accent3="accent3" accent4="accent4" accent5="accent5" accent6="accent6" hlink="hlink" folHlink="folHlink"/>
  <p:sldLayoutIdLst>
    <p:sldLayoutId id="2147488732" r:id="rId1"/>
    <p:sldLayoutId id="2147488733" r:id="rId2"/>
    <p:sldLayoutId id="2147488734" r:id="rId3"/>
    <p:sldLayoutId id="2147488735" r:id="rId4"/>
  </p:sldLayoutIdLst>
  <p:hf hdr="0" ftr="0" dt="0"/>
  <p:txStyles>
    <p:titleStyle>
      <a:lvl1pPr marL="0" indent="0" algn="l" rtl="0" eaLnBrk="1" fontAlgn="base" hangingPunct="1">
        <a:spcBef>
          <a:spcPct val="0"/>
        </a:spcBef>
        <a:spcAft>
          <a:spcPct val="0"/>
        </a:spcAft>
        <a:defRPr sz="1600" b="1" i="0">
          <a:solidFill>
            <a:srgbClr val="3366FF"/>
          </a:solidFill>
          <a:latin typeface="+mj-lt"/>
          <a:ea typeface="Arial Unicode MS" panose="020B0604020202020204" pitchFamily="34" charset="-128"/>
          <a:cs typeface="Arial" panose="020B0604020202020204" pitchFamily="34" charset="0"/>
        </a:defRPr>
      </a:lvl1pPr>
      <a:lvl2pPr algn="l" rtl="0" eaLnBrk="1" fontAlgn="base" hangingPunct="1">
        <a:spcBef>
          <a:spcPct val="0"/>
        </a:spcBef>
        <a:spcAft>
          <a:spcPct val="0"/>
        </a:spcAft>
        <a:defRPr sz="1600">
          <a:solidFill>
            <a:schemeClr val="bg2"/>
          </a:solidFill>
          <a:latin typeface="+mj-lt"/>
          <a:ea typeface="Arial" panose="020B0604020202020204" pitchFamily="34" charset="0"/>
          <a:cs typeface="Arial" pitchFamily="34" charset="0"/>
        </a:defRPr>
      </a:lvl2pPr>
      <a:lvl3pPr algn="l" rtl="0" eaLnBrk="1" fontAlgn="base" hangingPunct="1">
        <a:spcBef>
          <a:spcPct val="0"/>
        </a:spcBef>
        <a:spcAft>
          <a:spcPct val="0"/>
        </a:spcAft>
        <a:defRPr sz="1600" b="1">
          <a:solidFill>
            <a:srgbClr val="3366FF"/>
          </a:solidFill>
          <a:latin typeface="Arial" panose="020B0604020202020204" pitchFamily="34" charset="0"/>
          <a:ea typeface="Arial" panose="020B0604020202020204" pitchFamily="34" charset="0"/>
          <a:cs typeface="Arial" pitchFamily="34" charset="0"/>
        </a:defRPr>
      </a:lvl3pPr>
      <a:lvl4pPr algn="l" rtl="0" eaLnBrk="1" fontAlgn="base" hangingPunct="1">
        <a:spcBef>
          <a:spcPct val="0"/>
        </a:spcBef>
        <a:spcAft>
          <a:spcPct val="0"/>
        </a:spcAft>
        <a:defRPr sz="1600">
          <a:solidFill>
            <a:schemeClr val="bg2"/>
          </a:solidFill>
          <a:latin typeface="+mj-lt"/>
          <a:ea typeface="MS PGothic"/>
          <a:cs typeface="Arial" pitchFamily="34" charset="0"/>
        </a:defRPr>
      </a:lvl4pPr>
      <a:lvl5pPr algn="l" rtl="0" eaLnBrk="1" fontAlgn="base" hangingPunct="1">
        <a:spcBef>
          <a:spcPct val="0"/>
        </a:spcBef>
        <a:spcAft>
          <a:spcPct val="0"/>
        </a:spcAft>
        <a:defRPr sz="1600">
          <a:solidFill>
            <a:schemeClr val="bg2"/>
          </a:solidFill>
          <a:latin typeface="+mj-lt"/>
          <a:ea typeface="MS PGothic"/>
          <a:cs typeface="Arial" pitchFamily="34" charset="0"/>
        </a:defRPr>
      </a:lvl5pPr>
      <a:lvl6pPr marL="440284" algn="l" rtl="0" eaLnBrk="1" fontAlgn="base" hangingPunct="1">
        <a:spcBef>
          <a:spcPct val="0"/>
        </a:spcBef>
        <a:spcAft>
          <a:spcPct val="0"/>
        </a:spcAft>
        <a:defRPr sz="1600">
          <a:solidFill>
            <a:schemeClr val="bg2"/>
          </a:solidFill>
          <a:latin typeface="+mj-lt"/>
        </a:defRPr>
      </a:lvl6pPr>
      <a:lvl7pPr marL="880567" algn="ctr" rtl="0" eaLnBrk="1" fontAlgn="base" hangingPunct="1">
        <a:spcBef>
          <a:spcPct val="0"/>
        </a:spcBef>
        <a:spcAft>
          <a:spcPct val="0"/>
        </a:spcAft>
        <a:defRPr sz="1600">
          <a:solidFill>
            <a:schemeClr val="bg2"/>
          </a:solidFill>
          <a:latin typeface="+mj-lt"/>
        </a:defRPr>
      </a:lvl7pPr>
      <a:lvl8pPr marL="1320851" algn="ctr" rtl="0" eaLnBrk="1" fontAlgn="base" hangingPunct="1">
        <a:spcBef>
          <a:spcPct val="0"/>
        </a:spcBef>
        <a:spcAft>
          <a:spcPct val="0"/>
        </a:spcAft>
        <a:defRPr sz="1600">
          <a:solidFill>
            <a:schemeClr val="bg2"/>
          </a:solidFill>
          <a:latin typeface="+mj-lt"/>
        </a:defRPr>
      </a:lvl8pPr>
      <a:lvl9pPr marL="1761134" algn="l" rtl="0" eaLnBrk="1" fontAlgn="base" hangingPunct="1">
        <a:spcBef>
          <a:spcPct val="0"/>
        </a:spcBef>
        <a:spcAft>
          <a:spcPct val="0"/>
        </a:spcAft>
        <a:defRPr sz="1000">
          <a:solidFill>
            <a:schemeClr val="bg2"/>
          </a:solidFill>
          <a:latin typeface="+mj-lt"/>
        </a:defRPr>
      </a:lvl9pPr>
    </p:titleStyle>
    <p:body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p:bodyStyle>
    <p:otherStyle>
      <a:defPPr>
        <a:defRPr lang="fr-FR"/>
      </a:defPPr>
      <a:lvl1pPr marL="0" algn="l" defTabSz="440284" rtl="0" eaLnBrk="1" latinLnBrk="0" hangingPunct="1">
        <a:defRPr sz="1733" kern="1200">
          <a:solidFill>
            <a:schemeClr val="tx1"/>
          </a:solidFill>
          <a:latin typeface="+mn-lt"/>
          <a:ea typeface="+mn-ea"/>
          <a:cs typeface="+mn-cs"/>
        </a:defRPr>
      </a:lvl1pPr>
      <a:lvl2pPr marL="440284" algn="l" defTabSz="440284" rtl="0" eaLnBrk="1" latinLnBrk="0" hangingPunct="1">
        <a:defRPr sz="1733" kern="1200">
          <a:solidFill>
            <a:schemeClr val="tx1"/>
          </a:solidFill>
          <a:latin typeface="+mn-lt"/>
          <a:ea typeface="+mn-ea"/>
          <a:cs typeface="+mn-cs"/>
        </a:defRPr>
      </a:lvl2pPr>
      <a:lvl3pPr marL="880567" algn="l" defTabSz="440284" rtl="0" eaLnBrk="1" latinLnBrk="0" hangingPunct="1">
        <a:defRPr sz="1733" kern="1200">
          <a:solidFill>
            <a:schemeClr val="tx1"/>
          </a:solidFill>
          <a:latin typeface="+mn-lt"/>
          <a:ea typeface="+mn-ea"/>
          <a:cs typeface="+mn-cs"/>
        </a:defRPr>
      </a:lvl3pPr>
      <a:lvl4pPr marL="1320851" algn="l" defTabSz="440284" rtl="0" eaLnBrk="1" latinLnBrk="0" hangingPunct="1">
        <a:defRPr sz="1733" kern="1200">
          <a:solidFill>
            <a:schemeClr val="tx1"/>
          </a:solidFill>
          <a:latin typeface="+mn-lt"/>
          <a:ea typeface="+mn-ea"/>
          <a:cs typeface="+mn-cs"/>
        </a:defRPr>
      </a:lvl4pPr>
      <a:lvl5pPr marL="1761134" algn="l" defTabSz="440284" rtl="0" eaLnBrk="1" latinLnBrk="0" hangingPunct="1">
        <a:defRPr sz="1733" kern="1200">
          <a:solidFill>
            <a:schemeClr val="tx1"/>
          </a:solidFill>
          <a:latin typeface="+mn-lt"/>
          <a:ea typeface="+mn-ea"/>
          <a:cs typeface="+mn-cs"/>
        </a:defRPr>
      </a:lvl5pPr>
      <a:lvl6pPr marL="2201418" algn="l" defTabSz="440284" rtl="0" eaLnBrk="1" latinLnBrk="0" hangingPunct="1">
        <a:defRPr sz="1733" kern="1200">
          <a:solidFill>
            <a:schemeClr val="tx1"/>
          </a:solidFill>
          <a:latin typeface="+mn-lt"/>
          <a:ea typeface="+mn-ea"/>
          <a:cs typeface="+mn-cs"/>
        </a:defRPr>
      </a:lvl6pPr>
      <a:lvl7pPr marL="2641702" algn="l" defTabSz="440284" rtl="0" eaLnBrk="1" latinLnBrk="0" hangingPunct="1">
        <a:defRPr sz="1733" kern="1200">
          <a:solidFill>
            <a:schemeClr val="tx1"/>
          </a:solidFill>
          <a:latin typeface="+mn-lt"/>
          <a:ea typeface="+mn-ea"/>
          <a:cs typeface="+mn-cs"/>
        </a:defRPr>
      </a:lvl7pPr>
      <a:lvl8pPr marL="3081985" algn="l" defTabSz="440284" rtl="0" eaLnBrk="1" latinLnBrk="0" hangingPunct="1">
        <a:defRPr sz="1733" kern="1200">
          <a:solidFill>
            <a:schemeClr val="tx1"/>
          </a:solidFill>
          <a:latin typeface="+mn-lt"/>
          <a:ea typeface="+mn-ea"/>
          <a:cs typeface="+mn-cs"/>
        </a:defRPr>
      </a:lvl8pPr>
      <a:lvl9pPr marL="3522269" algn="l" defTabSz="440284" rtl="0" eaLnBrk="1" latinLnBrk="0" hangingPunct="1">
        <a:defRPr sz="173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0" userDrawn="1">
          <p15:clr>
            <a:srgbClr val="F26B43"/>
          </p15:clr>
        </p15:guide>
        <p15:guide id="2" pos="6000" userDrawn="1">
          <p15:clr>
            <a:srgbClr val="F26B43"/>
          </p15:clr>
        </p15:guide>
        <p15:guide id="3" orient="horz" pos="663" userDrawn="1">
          <p15:clr>
            <a:srgbClr val="F26B43"/>
          </p15:clr>
        </p15:guide>
        <p15:guide id="4" pos="149" userDrawn="1">
          <p15:clr>
            <a:srgbClr val="F26B43"/>
          </p15:clr>
        </p15:guide>
        <p15:guide id="5" orient="horz" pos="411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32.svg"/><Relationship Id="rId2" Type="http://schemas.openxmlformats.org/officeDocument/2006/relationships/slideLayout" Target="../slideLayouts/slideLayout1.xml"/><Relationship Id="rId1" Type="http://schemas.openxmlformats.org/officeDocument/2006/relationships/tags" Target="../tags/tag11.xml"/><Relationship Id="rId6" Type="http://schemas.openxmlformats.org/officeDocument/2006/relationships/image" Target="../media/image31.png"/><Relationship Id="rId5" Type="http://schemas.openxmlformats.org/officeDocument/2006/relationships/image" Target="../media/image20.emf"/><Relationship Id="rId4" Type="http://schemas.openxmlformats.org/officeDocument/2006/relationships/oleObject" Target="../embeddings/oleObject2.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34.svg"/><Relationship Id="rId2" Type="http://schemas.openxmlformats.org/officeDocument/2006/relationships/slideLayout" Target="../slideLayouts/slideLayout1.xml"/><Relationship Id="rId1" Type="http://schemas.openxmlformats.org/officeDocument/2006/relationships/tags" Target="../tags/tag12.xml"/><Relationship Id="rId6" Type="http://schemas.openxmlformats.org/officeDocument/2006/relationships/image" Target="../media/image33.png"/><Relationship Id="rId5" Type="http://schemas.openxmlformats.org/officeDocument/2006/relationships/image" Target="../media/image20.emf"/><Relationship Id="rId4" Type="http://schemas.openxmlformats.org/officeDocument/2006/relationships/oleObject" Target="../embeddings/oleObject2.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xml"/><Relationship Id="rId1" Type="http://schemas.openxmlformats.org/officeDocument/2006/relationships/tags" Target="../tags/tag13.xml"/><Relationship Id="rId6" Type="http://schemas.openxmlformats.org/officeDocument/2006/relationships/image" Target="../media/image35.png"/><Relationship Id="rId5" Type="http://schemas.openxmlformats.org/officeDocument/2006/relationships/image" Target="../media/image20.emf"/><Relationship Id="rId4" Type="http://schemas.openxmlformats.org/officeDocument/2006/relationships/oleObject" Target="../embeddings/oleObject2.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xml"/><Relationship Id="rId1" Type="http://schemas.openxmlformats.org/officeDocument/2006/relationships/themeOverride" Target="../theme/themeOverride1.xml"/><Relationship Id="rId4" Type="http://schemas.openxmlformats.org/officeDocument/2006/relationships/image" Target="../media/image36.emf"/></Relationships>
</file>

<file path=ppt/slides/_rels/slide1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xml"/><Relationship Id="rId1" Type="http://schemas.openxmlformats.org/officeDocument/2006/relationships/themeOverride" Target="../theme/themeOverride2.xml"/><Relationship Id="rId4" Type="http://schemas.openxmlformats.org/officeDocument/2006/relationships/image" Target="../media/image38.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xml"/><Relationship Id="rId1" Type="http://schemas.openxmlformats.org/officeDocument/2006/relationships/themeOverride" Target="../theme/themeOverride3.xml"/><Relationship Id="rId4" Type="http://schemas.openxmlformats.org/officeDocument/2006/relationships/image" Target="../media/image39.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xml"/><Relationship Id="rId1" Type="http://schemas.openxmlformats.org/officeDocument/2006/relationships/themeOverride" Target="../theme/themeOverride4.xml"/><Relationship Id="rId4" Type="http://schemas.openxmlformats.org/officeDocument/2006/relationships/image" Target="../media/image40.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xml"/><Relationship Id="rId1" Type="http://schemas.openxmlformats.org/officeDocument/2006/relationships/themeOverride" Target="../theme/themeOverride5.xml"/><Relationship Id="rId4" Type="http://schemas.openxmlformats.org/officeDocument/2006/relationships/image" Target="../media/image41.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xml"/><Relationship Id="rId1" Type="http://schemas.openxmlformats.org/officeDocument/2006/relationships/themeOverride" Target="../theme/themeOverride6.xml"/><Relationship Id="rId4" Type="http://schemas.openxmlformats.org/officeDocument/2006/relationships/image" Target="../media/image42.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hyperlink" Target="https://parallelrun-publicationtool.jao.eu/coreID/home" TargetMode="External"/><Relationship Id="rId5" Type="http://schemas.openxmlformats.org/officeDocument/2006/relationships/image" Target="../media/image20.emf"/><Relationship Id="rId4" Type="http://schemas.openxmlformats.org/officeDocument/2006/relationships/oleObject" Target="../embeddings/oleObject2.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xml"/><Relationship Id="rId1" Type="http://schemas.openxmlformats.org/officeDocument/2006/relationships/themeOverride" Target="../theme/themeOverride7.xml"/><Relationship Id="rId4" Type="http://schemas.openxmlformats.org/officeDocument/2006/relationships/image" Target="../media/image43.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xml"/><Relationship Id="rId1" Type="http://schemas.openxmlformats.org/officeDocument/2006/relationships/themeOverride" Target="../theme/themeOverride8.xml"/><Relationship Id="rId4" Type="http://schemas.openxmlformats.org/officeDocument/2006/relationships/image" Target="../media/image44.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xml"/><Relationship Id="rId1" Type="http://schemas.openxmlformats.org/officeDocument/2006/relationships/themeOverride" Target="../theme/themeOverride9.xml"/><Relationship Id="rId4" Type="http://schemas.openxmlformats.org/officeDocument/2006/relationships/image" Target="../media/image45.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xml"/><Relationship Id="rId1" Type="http://schemas.openxmlformats.org/officeDocument/2006/relationships/themeOverride" Target="../theme/themeOverride10.xml"/><Relationship Id="rId4" Type="http://schemas.openxmlformats.org/officeDocument/2006/relationships/image" Target="../media/image46.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xml"/><Relationship Id="rId1" Type="http://schemas.openxmlformats.org/officeDocument/2006/relationships/themeOverride" Target="../theme/themeOverride11.xml"/><Relationship Id="rId4" Type="http://schemas.openxmlformats.org/officeDocument/2006/relationships/image" Target="../media/image47.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xml"/><Relationship Id="rId1" Type="http://schemas.openxmlformats.org/officeDocument/2006/relationships/themeOverride" Target="../theme/themeOverride12.xml"/><Relationship Id="rId4" Type="http://schemas.openxmlformats.org/officeDocument/2006/relationships/image" Target="../media/image48.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xml"/><Relationship Id="rId1" Type="http://schemas.openxmlformats.org/officeDocument/2006/relationships/themeOverride" Target="../theme/themeOverride13.xml"/><Relationship Id="rId4" Type="http://schemas.openxmlformats.org/officeDocument/2006/relationships/image" Target="../media/image49.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xml"/><Relationship Id="rId1" Type="http://schemas.openxmlformats.org/officeDocument/2006/relationships/themeOverride" Target="../theme/themeOverride14.xml"/><Relationship Id="rId4" Type="http://schemas.openxmlformats.org/officeDocument/2006/relationships/image" Target="../media/image50.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xml"/><Relationship Id="rId1" Type="http://schemas.openxmlformats.org/officeDocument/2006/relationships/themeOverride" Target="../theme/themeOverride15.xml"/><Relationship Id="rId4" Type="http://schemas.openxmlformats.org/officeDocument/2006/relationships/image" Target="../media/image51.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xml"/><Relationship Id="rId1" Type="http://schemas.openxmlformats.org/officeDocument/2006/relationships/themeOverride" Target="../theme/themeOverride16.xml"/><Relationship Id="rId4" Type="http://schemas.openxmlformats.org/officeDocument/2006/relationships/image" Target="../media/image52.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4.xml"/><Relationship Id="rId6" Type="http://schemas.openxmlformats.org/officeDocument/2006/relationships/hyperlink" Target="https://www.jao.eu/sites/default/files/2025-05/Reading%20Guide_Operational%20KPIs_IDCC_version2.pdf" TargetMode="External"/><Relationship Id="rId5" Type="http://schemas.openxmlformats.org/officeDocument/2006/relationships/image" Target="../media/image20.emf"/><Relationship Id="rId4" Type="http://schemas.openxmlformats.org/officeDocument/2006/relationships/oleObject" Target="../embeddings/oleObject2.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xml"/><Relationship Id="rId1" Type="http://schemas.openxmlformats.org/officeDocument/2006/relationships/themeOverride" Target="../theme/themeOverride17.xml"/></Relationships>
</file>

<file path=ppt/slides/_rels/slide31.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3.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4.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8.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9.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5.xml"/><Relationship Id="rId5" Type="http://schemas.openxmlformats.org/officeDocument/2006/relationships/image" Target="../media/image20.emf"/><Relationship Id="rId4" Type="http://schemas.openxmlformats.org/officeDocument/2006/relationships/oleObject" Target="../embeddings/oleObject2.bin"/></Relationships>
</file>

<file path=ppt/slides/_rels/slide4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0.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42.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3.xml"/><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4.xml"/><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5.xml"/><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6.xml"/><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7.xml"/><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14.xml"/><Relationship Id="rId5" Type="http://schemas.openxmlformats.org/officeDocument/2006/relationships/image" Target="../media/image71.png"/><Relationship Id="rId4" Type="http://schemas.openxmlformats.org/officeDocument/2006/relationships/image" Target="../media/image70.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15.xml"/><Relationship Id="rId5" Type="http://schemas.openxmlformats.org/officeDocument/2006/relationships/image" Target="../media/image72.png"/><Relationship Id="rId4" Type="http://schemas.openxmlformats.org/officeDocument/2006/relationships/image" Target="../media/image70.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22.svg"/><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21.png"/><Relationship Id="rId5" Type="http://schemas.openxmlformats.org/officeDocument/2006/relationships/image" Target="../media/image20.emf"/><Relationship Id="rId4" Type="http://schemas.openxmlformats.org/officeDocument/2006/relationships/oleObject" Target="../embeddings/oleObject2.bin"/></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16.xml"/><Relationship Id="rId5" Type="http://schemas.openxmlformats.org/officeDocument/2006/relationships/image" Target="../media/image73.png"/><Relationship Id="rId4" Type="http://schemas.openxmlformats.org/officeDocument/2006/relationships/image" Target="../media/image70.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17.xml"/><Relationship Id="rId5" Type="http://schemas.openxmlformats.org/officeDocument/2006/relationships/image" Target="../media/image74.png"/><Relationship Id="rId4" Type="http://schemas.openxmlformats.org/officeDocument/2006/relationships/image" Target="../media/image70.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18.xml"/><Relationship Id="rId5" Type="http://schemas.openxmlformats.org/officeDocument/2006/relationships/image" Target="../media/image75.png"/><Relationship Id="rId4" Type="http://schemas.openxmlformats.org/officeDocument/2006/relationships/image" Target="../media/image70.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19.xml"/><Relationship Id="rId5" Type="http://schemas.openxmlformats.org/officeDocument/2006/relationships/image" Target="../media/image76.png"/><Relationship Id="rId4" Type="http://schemas.openxmlformats.org/officeDocument/2006/relationships/image" Target="../media/image70.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20.xml"/><Relationship Id="rId5" Type="http://schemas.openxmlformats.org/officeDocument/2006/relationships/image" Target="../media/image77.png"/><Relationship Id="rId4" Type="http://schemas.openxmlformats.org/officeDocument/2006/relationships/image" Target="../media/image70.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21.xml"/><Relationship Id="rId5" Type="http://schemas.openxmlformats.org/officeDocument/2006/relationships/image" Target="../media/image78.png"/><Relationship Id="rId4" Type="http://schemas.openxmlformats.org/officeDocument/2006/relationships/image" Target="../media/image70.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22.xml"/><Relationship Id="rId5" Type="http://schemas.openxmlformats.org/officeDocument/2006/relationships/image" Target="../media/image79.png"/><Relationship Id="rId4" Type="http://schemas.openxmlformats.org/officeDocument/2006/relationships/image" Target="../media/image70.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23.xml"/><Relationship Id="rId5" Type="http://schemas.openxmlformats.org/officeDocument/2006/relationships/image" Target="../media/image80.png"/><Relationship Id="rId4" Type="http://schemas.openxmlformats.org/officeDocument/2006/relationships/image" Target="../media/image70.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24.xml"/><Relationship Id="rId5" Type="http://schemas.openxmlformats.org/officeDocument/2006/relationships/image" Target="../media/image81.png"/><Relationship Id="rId4" Type="http://schemas.openxmlformats.org/officeDocument/2006/relationships/image" Target="../media/image70.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25.xml"/><Relationship Id="rId5" Type="http://schemas.openxmlformats.org/officeDocument/2006/relationships/image" Target="../media/image82.png"/><Relationship Id="rId4" Type="http://schemas.openxmlformats.org/officeDocument/2006/relationships/image" Target="../media/image70.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24.svg"/><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image" Target="../media/image23.png"/><Relationship Id="rId5" Type="http://schemas.openxmlformats.org/officeDocument/2006/relationships/image" Target="../media/image20.emf"/><Relationship Id="rId4" Type="http://schemas.openxmlformats.org/officeDocument/2006/relationships/oleObject" Target="../embeddings/oleObject2.bin"/></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26.xml"/><Relationship Id="rId5" Type="http://schemas.openxmlformats.org/officeDocument/2006/relationships/image" Target="../media/image83.png"/><Relationship Id="rId4" Type="http://schemas.openxmlformats.org/officeDocument/2006/relationships/image" Target="../media/image70.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27.xml"/><Relationship Id="rId5" Type="http://schemas.openxmlformats.org/officeDocument/2006/relationships/image" Target="../media/image84.png"/><Relationship Id="rId4" Type="http://schemas.openxmlformats.org/officeDocument/2006/relationships/image" Target="../media/image70.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28.xml"/><Relationship Id="rId5" Type="http://schemas.openxmlformats.org/officeDocument/2006/relationships/image" Target="../media/image85.png"/><Relationship Id="rId4" Type="http://schemas.openxmlformats.org/officeDocument/2006/relationships/image" Target="../media/image70.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29.xml"/><Relationship Id="rId5" Type="http://schemas.openxmlformats.org/officeDocument/2006/relationships/image" Target="../media/image86.png"/><Relationship Id="rId4" Type="http://schemas.openxmlformats.org/officeDocument/2006/relationships/image" Target="../media/image70.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30.xml"/><Relationship Id="rId5" Type="http://schemas.openxmlformats.org/officeDocument/2006/relationships/image" Target="../media/image87.png"/><Relationship Id="rId4" Type="http://schemas.openxmlformats.org/officeDocument/2006/relationships/image" Target="../media/image70.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31.xml"/><Relationship Id="rId5" Type="http://schemas.openxmlformats.org/officeDocument/2006/relationships/image" Target="../media/image88.png"/><Relationship Id="rId4" Type="http://schemas.openxmlformats.org/officeDocument/2006/relationships/image" Target="../media/image70.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32.xml"/><Relationship Id="rId5" Type="http://schemas.openxmlformats.org/officeDocument/2006/relationships/image" Target="../media/image89.png"/><Relationship Id="rId4" Type="http://schemas.openxmlformats.org/officeDocument/2006/relationships/image" Target="../media/image70.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33.xml"/><Relationship Id="rId5" Type="http://schemas.openxmlformats.org/officeDocument/2006/relationships/image" Target="../media/image90.png"/><Relationship Id="rId4" Type="http://schemas.openxmlformats.org/officeDocument/2006/relationships/image" Target="../media/image70.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34.xml"/><Relationship Id="rId5" Type="http://schemas.openxmlformats.org/officeDocument/2006/relationships/image" Target="../media/image91.png"/><Relationship Id="rId4" Type="http://schemas.openxmlformats.org/officeDocument/2006/relationships/image" Target="../media/image70.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35.xml"/><Relationship Id="rId5" Type="http://schemas.openxmlformats.org/officeDocument/2006/relationships/image" Target="../media/image92.png"/><Relationship Id="rId4" Type="http://schemas.openxmlformats.org/officeDocument/2006/relationships/image" Target="../media/image70.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26.svg"/><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25.png"/><Relationship Id="rId5" Type="http://schemas.openxmlformats.org/officeDocument/2006/relationships/image" Target="../media/image20.emf"/><Relationship Id="rId4" Type="http://schemas.openxmlformats.org/officeDocument/2006/relationships/oleObject" Target="../embeddings/oleObject2.bin"/></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36.xml"/><Relationship Id="rId5" Type="http://schemas.openxmlformats.org/officeDocument/2006/relationships/image" Target="../media/image93.png"/><Relationship Id="rId4" Type="http://schemas.openxmlformats.org/officeDocument/2006/relationships/image" Target="../media/image70.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37.xml"/><Relationship Id="rId5" Type="http://schemas.openxmlformats.org/officeDocument/2006/relationships/image" Target="../media/image94.png"/><Relationship Id="rId4" Type="http://schemas.openxmlformats.org/officeDocument/2006/relationships/image" Target="../media/image70.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28.svg"/><Relationship Id="rId2" Type="http://schemas.openxmlformats.org/officeDocument/2006/relationships/slideLayout" Target="../slideLayouts/slideLayout1.xml"/><Relationship Id="rId1" Type="http://schemas.openxmlformats.org/officeDocument/2006/relationships/tags" Target="../tags/tag9.xml"/><Relationship Id="rId6" Type="http://schemas.openxmlformats.org/officeDocument/2006/relationships/image" Target="../media/image27.png"/><Relationship Id="rId5" Type="http://schemas.openxmlformats.org/officeDocument/2006/relationships/image" Target="../media/image20.emf"/><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30.svg"/><Relationship Id="rId2" Type="http://schemas.openxmlformats.org/officeDocument/2006/relationships/slideLayout" Target="../slideLayouts/slideLayout1.xml"/><Relationship Id="rId1" Type="http://schemas.openxmlformats.org/officeDocument/2006/relationships/tags" Target="../tags/tag10.xml"/><Relationship Id="rId6" Type="http://schemas.openxmlformats.org/officeDocument/2006/relationships/image" Target="../media/image29.png"/><Relationship Id="rId5" Type="http://schemas.openxmlformats.org/officeDocument/2006/relationships/image" Target="../media/image20.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2062902" y="2382824"/>
            <a:ext cx="4158438" cy="792162"/>
          </a:xfrm>
        </p:spPr>
        <p:txBody>
          <a:bodyPr/>
          <a:lstStyle/>
          <a:p>
            <a:r>
              <a:rPr lang="en-US" b="1" dirty="0"/>
              <a:t>Q1 2025: </a:t>
            </a:r>
            <a:r>
              <a:rPr lang="pt-PT" b="1" dirty="0"/>
              <a:t>17</a:t>
            </a:r>
            <a:r>
              <a:rPr lang="sk-SK" b="1" dirty="0"/>
              <a:t>/</a:t>
            </a:r>
            <a:r>
              <a:rPr lang="fr-BE" b="1" dirty="0"/>
              <a:t>12</a:t>
            </a:r>
            <a:r>
              <a:rPr lang="sk-SK" b="1" dirty="0"/>
              <a:t>/202</a:t>
            </a:r>
            <a:r>
              <a:rPr lang="pt-PT" b="1" dirty="0"/>
              <a:t>4</a:t>
            </a:r>
            <a:r>
              <a:rPr lang="sk-SK" b="1" dirty="0"/>
              <a:t> – </a:t>
            </a:r>
            <a:r>
              <a:rPr lang="en-GB" b="1" dirty="0"/>
              <a:t>31</a:t>
            </a:r>
            <a:r>
              <a:rPr lang="sk-SK" b="1" dirty="0"/>
              <a:t>/</a:t>
            </a:r>
            <a:r>
              <a:rPr lang="fr-BE" b="1" dirty="0"/>
              <a:t>03/</a:t>
            </a:r>
            <a:r>
              <a:rPr lang="sk-SK" b="1" dirty="0"/>
              <a:t>202</a:t>
            </a:r>
            <a:r>
              <a:rPr lang="en-GB" b="1" dirty="0"/>
              <a:t>5</a:t>
            </a:r>
            <a:endParaRPr lang="en-US" b="1" dirty="0"/>
          </a:p>
        </p:txBody>
      </p:sp>
      <p:sp>
        <p:nvSpPr>
          <p:cNvPr id="4" name="Text Placeholder 3"/>
          <p:cNvSpPr>
            <a:spLocks noGrp="1"/>
          </p:cNvSpPr>
          <p:nvPr>
            <p:ph type="body" sz="quarter" idx="12"/>
          </p:nvPr>
        </p:nvSpPr>
        <p:spPr>
          <a:xfrm>
            <a:off x="1153682" y="724098"/>
            <a:ext cx="7741863" cy="792162"/>
          </a:xfrm>
        </p:spPr>
        <p:txBody>
          <a:bodyPr/>
          <a:lstStyle/>
          <a:p>
            <a:r>
              <a:rPr lang="nl-NL" sz="3200" dirty="0"/>
              <a:t>Core IDCC(c) </a:t>
            </a:r>
            <a:r>
              <a:rPr lang="nl-NL" sz="3200" dirty="0" err="1"/>
              <a:t>Operational</a:t>
            </a:r>
            <a:r>
              <a:rPr lang="nl-NL" sz="3200" dirty="0"/>
              <a:t> KPI report</a:t>
            </a:r>
          </a:p>
          <a:p>
            <a:r>
              <a:rPr lang="nl-NL" sz="1800" dirty="0" err="1"/>
              <a:t>External</a:t>
            </a:r>
            <a:r>
              <a:rPr lang="nl-NL" sz="1800" dirty="0"/>
              <a:t> // run KPI report</a:t>
            </a:r>
            <a:endParaRPr lang="en-US" sz="1800" dirty="0"/>
          </a:p>
        </p:txBody>
      </p:sp>
    </p:spTree>
    <p:extLst>
      <p:ext uri="{BB962C8B-B14F-4D97-AF65-F5344CB8AC3E}">
        <p14:creationId xmlns:p14="http://schemas.microsoft.com/office/powerpoint/2010/main" val="29997756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en-US" dirty="0"/>
              <a:t>KPI</a:t>
            </a:r>
            <a:r>
              <a:rPr lang="sk-SK" dirty="0"/>
              <a:t> 4</a:t>
            </a:r>
            <a:r>
              <a:rPr lang="pt-PT" dirty="0"/>
              <a:t>A - </a:t>
            </a:r>
            <a:r>
              <a:rPr lang="en-US" sz="1600" dirty="0"/>
              <a:t>Delta comparison with IDCC(b) run at ~4:30</a:t>
            </a:r>
            <a:r>
              <a:rPr lang="pt-PT" dirty="0"/>
              <a:t> </a:t>
            </a:r>
            <a:endParaRPr lang="en-US" dirty="0"/>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p:txBody>
          <a:bodyPr/>
          <a:lstStyle/>
          <a:p>
            <a:r>
              <a:rPr lang="en-US" sz="1400" dirty="0"/>
              <a:t>Mean positive ID ATCs by Oriented Core Bidding Zone Border</a:t>
            </a:r>
          </a:p>
          <a:p>
            <a:endParaRPr lang="en-US" dirty="0"/>
          </a:p>
        </p:txBody>
      </p:sp>
      <p:sp>
        <p:nvSpPr>
          <p:cNvPr id="2" name="Slide Number Placeholder 1">
            <a:extLst>
              <a:ext uri="{FF2B5EF4-FFF2-40B4-BE49-F238E27FC236}">
                <a16:creationId xmlns:a16="http://schemas.microsoft.com/office/drawing/2014/main" id="{CE1EB9AA-9D04-0197-DC57-BACF9CD8AABB}"/>
              </a:ext>
            </a:extLst>
          </p:cNvPr>
          <p:cNvSpPr>
            <a:spLocks noGrp="1"/>
          </p:cNvSpPr>
          <p:nvPr>
            <p:ph type="sldNum" sz="quarter" idx="4"/>
          </p:nvPr>
        </p:nvSpPr>
        <p:spPr/>
        <p:txBody>
          <a:bodyPr/>
          <a:lstStyle/>
          <a:p>
            <a:fld id="{F551322C-20B2-48C3-B63D-68158FEBF630}" type="slidenum">
              <a:rPr lang="en-US" smtClean="0"/>
              <a:pPr/>
              <a:t>10</a:t>
            </a:fld>
            <a:endParaRPr lang="en-GB"/>
          </a:p>
        </p:txBody>
      </p:sp>
      <p:pic>
        <p:nvPicPr>
          <p:cNvPr id="4" name="Graphic 3">
            <a:extLst>
              <a:ext uri="{FF2B5EF4-FFF2-40B4-BE49-F238E27FC236}">
                <a16:creationId xmlns:a16="http://schemas.microsoft.com/office/drawing/2014/main" id="{6B2D9B97-3F45-AE7B-0689-7113CD6E8494}"/>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218831" y="1135184"/>
            <a:ext cx="9081477" cy="5108330"/>
          </a:xfrm>
          <a:prstGeom prst="rect">
            <a:avLst/>
          </a:prstGeom>
        </p:spPr>
      </p:pic>
    </p:spTree>
    <p:extLst>
      <p:ext uri="{BB962C8B-B14F-4D97-AF65-F5344CB8AC3E}">
        <p14:creationId xmlns:p14="http://schemas.microsoft.com/office/powerpoint/2010/main" val="22274584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en-US" dirty="0"/>
              <a:t>KPI</a:t>
            </a:r>
            <a:r>
              <a:rPr lang="sk-SK" dirty="0"/>
              <a:t> 4</a:t>
            </a:r>
            <a:r>
              <a:rPr lang="pt-PT" dirty="0"/>
              <a:t>A - </a:t>
            </a:r>
            <a:r>
              <a:rPr lang="en-US" sz="1600" dirty="0"/>
              <a:t>Delta comparison with IDCC(b) run at ~4:30</a:t>
            </a:r>
            <a:r>
              <a:rPr lang="pt-PT" dirty="0"/>
              <a:t> </a:t>
            </a:r>
            <a:endParaRPr lang="en-US" dirty="0"/>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p:txBody>
          <a:bodyPr/>
          <a:lstStyle/>
          <a:p>
            <a:r>
              <a:rPr lang="en-US" sz="1400" dirty="0"/>
              <a:t>Mean positive ID ATCs by Oriented Core Bidding Zone Border</a:t>
            </a:r>
          </a:p>
          <a:p>
            <a:endParaRPr lang="en-US" dirty="0"/>
          </a:p>
        </p:txBody>
      </p:sp>
      <p:sp>
        <p:nvSpPr>
          <p:cNvPr id="2" name="Slide Number Placeholder 1">
            <a:extLst>
              <a:ext uri="{FF2B5EF4-FFF2-40B4-BE49-F238E27FC236}">
                <a16:creationId xmlns:a16="http://schemas.microsoft.com/office/drawing/2014/main" id="{CE1EB9AA-9D04-0197-DC57-BACF9CD8AABB}"/>
              </a:ext>
            </a:extLst>
          </p:cNvPr>
          <p:cNvSpPr>
            <a:spLocks noGrp="1"/>
          </p:cNvSpPr>
          <p:nvPr>
            <p:ph type="sldNum" sz="quarter" idx="4"/>
          </p:nvPr>
        </p:nvSpPr>
        <p:spPr/>
        <p:txBody>
          <a:bodyPr/>
          <a:lstStyle/>
          <a:p>
            <a:fld id="{F551322C-20B2-48C3-B63D-68158FEBF630}" type="slidenum">
              <a:rPr lang="en-US" smtClean="0"/>
              <a:pPr/>
              <a:t>11</a:t>
            </a:fld>
            <a:endParaRPr lang="en-GB"/>
          </a:p>
        </p:txBody>
      </p:sp>
      <p:pic>
        <p:nvPicPr>
          <p:cNvPr id="4" name="Graphic 3">
            <a:extLst>
              <a:ext uri="{FF2B5EF4-FFF2-40B4-BE49-F238E27FC236}">
                <a16:creationId xmlns:a16="http://schemas.microsoft.com/office/drawing/2014/main" id="{6B2D9B97-3F45-AE7B-0689-7113CD6E8494}"/>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218832" y="1135184"/>
            <a:ext cx="9081475" cy="5108330"/>
          </a:xfrm>
          <a:prstGeom prst="rect">
            <a:avLst/>
          </a:prstGeom>
        </p:spPr>
      </p:pic>
    </p:spTree>
    <p:extLst>
      <p:ext uri="{BB962C8B-B14F-4D97-AF65-F5344CB8AC3E}">
        <p14:creationId xmlns:p14="http://schemas.microsoft.com/office/powerpoint/2010/main" val="38230920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a:xfrm>
            <a:off x="539999" y="108000"/>
            <a:ext cx="7044142" cy="336550"/>
          </a:xfrm>
        </p:spPr>
        <p:txBody>
          <a:bodyPr vert="horz"/>
          <a:lstStyle/>
          <a:p>
            <a:r>
              <a:rPr lang="en-US" dirty="0"/>
              <a:t>KPI</a:t>
            </a:r>
            <a:r>
              <a:rPr lang="sk-SK" dirty="0"/>
              <a:t> 5</a:t>
            </a:r>
            <a:endParaRPr lang="en-US" dirty="0"/>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a:xfrm>
            <a:off x="540000" y="461650"/>
            <a:ext cx="8640000" cy="363850"/>
          </a:xfrm>
        </p:spPr>
        <p:txBody>
          <a:bodyPr/>
          <a:lstStyle/>
          <a:p>
            <a:r>
              <a:rPr lang="en-US" sz="1400" dirty="0"/>
              <a:t>Share of MTUs with intervention during IVA validation per TSO (IVA aggregations per TSO)</a:t>
            </a:r>
          </a:p>
          <a:p>
            <a:endParaRPr lang="en-US" dirty="0"/>
          </a:p>
        </p:txBody>
      </p:sp>
      <p:sp>
        <p:nvSpPr>
          <p:cNvPr id="2" name="Slide Number Placeholder 1">
            <a:extLst>
              <a:ext uri="{FF2B5EF4-FFF2-40B4-BE49-F238E27FC236}">
                <a16:creationId xmlns:a16="http://schemas.microsoft.com/office/drawing/2014/main" id="{8C32EBF1-448C-EB94-ED06-06CCFAC86A27}"/>
              </a:ext>
            </a:extLst>
          </p:cNvPr>
          <p:cNvSpPr>
            <a:spLocks noGrp="1"/>
          </p:cNvSpPr>
          <p:nvPr>
            <p:ph type="sldNum" sz="quarter" idx="4"/>
          </p:nvPr>
        </p:nvSpPr>
        <p:spPr/>
        <p:txBody>
          <a:bodyPr/>
          <a:lstStyle/>
          <a:p>
            <a:fld id="{F551322C-20B2-48C3-B63D-68158FEBF630}" type="slidenum">
              <a:rPr lang="en-US" smtClean="0"/>
              <a:pPr/>
              <a:t>12</a:t>
            </a:fld>
            <a:endParaRPr lang="en-GB"/>
          </a:p>
        </p:txBody>
      </p:sp>
      <p:pic>
        <p:nvPicPr>
          <p:cNvPr id="4" name="Picture 3">
            <a:extLst>
              <a:ext uri="{FF2B5EF4-FFF2-40B4-BE49-F238E27FC236}">
                <a16:creationId xmlns:a16="http://schemas.microsoft.com/office/drawing/2014/main" id="{62C5E97A-3D15-0FEA-C0A3-A66FC7C83042}"/>
              </a:ext>
            </a:extLst>
          </p:cNvPr>
          <p:cNvPicPr>
            <a:picLocks noChangeAspect="1"/>
          </p:cNvPicPr>
          <p:nvPr/>
        </p:nvPicPr>
        <p:blipFill>
          <a:blip r:embed="rId6"/>
          <a:stretch>
            <a:fillRect/>
          </a:stretch>
        </p:blipFill>
        <p:spPr>
          <a:xfrm>
            <a:off x="309563" y="1419225"/>
            <a:ext cx="9286875" cy="4019550"/>
          </a:xfrm>
          <a:prstGeom prst="rect">
            <a:avLst/>
          </a:prstGeom>
        </p:spPr>
      </p:pic>
    </p:spTree>
    <p:extLst>
      <p:ext uri="{BB962C8B-B14F-4D97-AF65-F5344CB8AC3E}">
        <p14:creationId xmlns:p14="http://schemas.microsoft.com/office/powerpoint/2010/main" val="19226651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t>KPI</a:t>
            </a:r>
            <a:r>
              <a:rPr lang="sk-SK" dirty="0"/>
              <a:t> 6</a:t>
            </a:r>
            <a:r>
              <a:rPr lang="pt-PT" dirty="0"/>
              <a:t>A &amp; 6B - </a:t>
            </a:r>
            <a:r>
              <a:rPr lang="en-US" sz="1600" dirty="0"/>
              <a:t>Limiting constraints of the ATC domain​</a:t>
            </a:r>
            <a:endParaRPr lang="hu-HU" dirty="0"/>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20 most limiting ATC constraints &amp; Mean and Max of ATC limiting constraints</a:t>
            </a:r>
          </a:p>
          <a:p>
            <a:endParaRPr lang="en-US" sz="1400" dirty="0"/>
          </a:p>
          <a:p>
            <a:endParaRPr lang="en-US" dirty="0"/>
          </a:p>
          <a:p>
            <a:endParaRPr lang="hu-HU" dirty="0"/>
          </a:p>
        </p:txBody>
      </p:sp>
      <p:sp>
        <p:nvSpPr>
          <p:cNvPr id="4" name="Slide Number Placeholder 3">
            <a:extLst>
              <a:ext uri="{FF2B5EF4-FFF2-40B4-BE49-F238E27FC236}">
                <a16:creationId xmlns:a16="http://schemas.microsoft.com/office/drawing/2014/main" id="{0EA2DD87-16AE-9BBE-1C95-94B8836813C5}"/>
              </a:ext>
            </a:extLst>
          </p:cNvPr>
          <p:cNvSpPr>
            <a:spLocks noGrp="1"/>
          </p:cNvSpPr>
          <p:nvPr>
            <p:ph type="sldNum" sz="quarter" idx="4"/>
          </p:nvPr>
        </p:nvSpPr>
        <p:spPr/>
        <p:txBody>
          <a:bodyPr/>
          <a:lstStyle/>
          <a:p>
            <a:fld id="{F551322C-20B2-48C3-B63D-68158FEBF630}" type="slidenum">
              <a:rPr lang="en-US" smtClean="0"/>
              <a:pPr/>
              <a:t>13</a:t>
            </a:fld>
            <a:endParaRPr lang="en-GB"/>
          </a:p>
        </p:txBody>
      </p:sp>
      <p:pic>
        <p:nvPicPr>
          <p:cNvPr id="6" name="Kép 5">
            <a:extLst>
              <a:ext uri="{FF2B5EF4-FFF2-40B4-BE49-F238E27FC236}">
                <a16:creationId xmlns:a16="http://schemas.microsoft.com/office/drawing/2014/main" id="{C5B0350B-6770-C87A-8214-7EAEB9ECE06F}"/>
              </a:ext>
            </a:extLst>
          </p:cNvPr>
          <p:cNvPicPr>
            <a:picLocks noChangeAspect="1"/>
          </p:cNvPicPr>
          <p:nvPr/>
        </p:nvPicPr>
        <p:blipFill>
          <a:blip r:embed="rId4"/>
          <a:stretch>
            <a:fillRect/>
          </a:stretch>
        </p:blipFill>
        <p:spPr>
          <a:xfrm>
            <a:off x="1927951" y="1149196"/>
            <a:ext cx="5817289" cy="5111233"/>
          </a:xfrm>
          <a:prstGeom prst="rect">
            <a:avLst/>
          </a:prstGeom>
        </p:spPr>
      </p:pic>
    </p:spTree>
    <p:extLst>
      <p:ext uri="{BB962C8B-B14F-4D97-AF65-F5344CB8AC3E}">
        <p14:creationId xmlns:p14="http://schemas.microsoft.com/office/powerpoint/2010/main" val="2415477640"/>
      </p:ext>
    </p:extLst>
  </p:cSld>
  <p:clrMapOvr>
    <a:overrideClrMapping bg1="lt1" tx1="dk1" bg2="lt2" tx2="dk2" accent1="accent1" accent2="accent2" accent3="accent3" accent4="accent4" accent5="accent5" accent6="accent6" hlink="hlink" folHlink="folHlink"/>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t>KPI</a:t>
            </a:r>
            <a:r>
              <a:rPr lang="sk-SK" dirty="0"/>
              <a:t> 6</a:t>
            </a:r>
            <a:r>
              <a:rPr lang="pt-PT" dirty="0"/>
              <a:t>A &amp; 6B - </a:t>
            </a:r>
            <a:r>
              <a:rPr lang="en-US" sz="1600" dirty="0"/>
              <a:t>Limiting constraints of the ATC domain​</a:t>
            </a:r>
            <a:endParaRPr lang="hu-HU" dirty="0"/>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20 most limiting ATC constraints &amp; Mean and Max of ATC limiting constraints</a:t>
            </a:r>
          </a:p>
          <a:p>
            <a:endParaRPr lang="en-US" sz="1400" dirty="0"/>
          </a:p>
          <a:p>
            <a:endParaRPr lang="en-US" dirty="0"/>
          </a:p>
          <a:p>
            <a:endParaRPr lang="hu-HU" dirty="0"/>
          </a:p>
        </p:txBody>
      </p:sp>
      <p:sp>
        <p:nvSpPr>
          <p:cNvPr id="4" name="Slide Number Placeholder 3">
            <a:extLst>
              <a:ext uri="{FF2B5EF4-FFF2-40B4-BE49-F238E27FC236}">
                <a16:creationId xmlns:a16="http://schemas.microsoft.com/office/drawing/2014/main" id="{0EA2DD87-16AE-9BBE-1C95-94B8836813C5}"/>
              </a:ext>
            </a:extLst>
          </p:cNvPr>
          <p:cNvSpPr>
            <a:spLocks noGrp="1"/>
          </p:cNvSpPr>
          <p:nvPr>
            <p:ph type="sldNum" sz="quarter" idx="4"/>
          </p:nvPr>
        </p:nvSpPr>
        <p:spPr/>
        <p:txBody>
          <a:bodyPr/>
          <a:lstStyle/>
          <a:p>
            <a:fld id="{F551322C-20B2-48C3-B63D-68158FEBF630}" type="slidenum">
              <a:rPr lang="en-US" smtClean="0"/>
              <a:pPr/>
              <a:t>14</a:t>
            </a:fld>
            <a:endParaRPr lang="en-GB"/>
          </a:p>
        </p:txBody>
      </p:sp>
      <p:pic>
        <p:nvPicPr>
          <p:cNvPr id="5" name="Kép 4">
            <a:extLst>
              <a:ext uri="{FF2B5EF4-FFF2-40B4-BE49-F238E27FC236}">
                <a16:creationId xmlns:a16="http://schemas.microsoft.com/office/drawing/2014/main" id="{32F63739-04B3-7324-37B2-8E50D33280F1}"/>
              </a:ext>
            </a:extLst>
          </p:cNvPr>
          <p:cNvPicPr>
            <a:picLocks noChangeAspect="1"/>
          </p:cNvPicPr>
          <p:nvPr/>
        </p:nvPicPr>
        <p:blipFill>
          <a:blip r:embed="rId3"/>
          <a:stretch>
            <a:fillRect/>
          </a:stretch>
        </p:blipFill>
        <p:spPr>
          <a:xfrm>
            <a:off x="269999" y="999296"/>
            <a:ext cx="9366001" cy="5202120"/>
          </a:xfrm>
          <a:prstGeom prst="rect">
            <a:avLst/>
          </a:prstGeom>
        </p:spPr>
      </p:pic>
    </p:spTree>
    <p:extLst>
      <p:ext uri="{BB962C8B-B14F-4D97-AF65-F5344CB8AC3E}">
        <p14:creationId xmlns:p14="http://schemas.microsoft.com/office/powerpoint/2010/main" val="10975331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t>KPI</a:t>
            </a:r>
            <a:r>
              <a:rPr lang="sk-SK" dirty="0"/>
              <a:t> 6</a:t>
            </a:r>
            <a:r>
              <a:rPr lang="pt-PT" dirty="0"/>
              <a:t>C - </a:t>
            </a:r>
            <a:r>
              <a:rPr lang="en-US" sz="1600" dirty="0"/>
              <a:t>Limiting constraints of the ATC domain​</a:t>
            </a:r>
            <a:endParaRPr lang="hu-HU" dirty="0"/>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ATC limiting constraints per TSO - APG </a:t>
            </a:r>
          </a:p>
          <a:p>
            <a:endParaRPr lang="en-US" sz="1400" dirty="0"/>
          </a:p>
          <a:p>
            <a:endParaRPr lang="en-US" dirty="0"/>
          </a:p>
          <a:p>
            <a:endParaRPr lang="hu-HU" dirty="0"/>
          </a:p>
        </p:txBody>
      </p:sp>
      <p:sp>
        <p:nvSpPr>
          <p:cNvPr id="4" name="Slide Number Placeholder 3">
            <a:extLst>
              <a:ext uri="{FF2B5EF4-FFF2-40B4-BE49-F238E27FC236}">
                <a16:creationId xmlns:a16="http://schemas.microsoft.com/office/drawing/2014/main" id="{E3C118E8-BAC1-743F-9765-2B2FB029D5F9}"/>
              </a:ext>
            </a:extLst>
          </p:cNvPr>
          <p:cNvSpPr>
            <a:spLocks noGrp="1"/>
          </p:cNvSpPr>
          <p:nvPr>
            <p:ph type="sldNum" sz="quarter" idx="4"/>
          </p:nvPr>
        </p:nvSpPr>
        <p:spPr/>
        <p:txBody>
          <a:bodyPr/>
          <a:lstStyle/>
          <a:p>
            <a:fld id="{F551322C-20B2-48C3-B63D-68158FEBF630}" type="slidenum">
              <a:rPr lang="en-US" smtClean="0"/>
              <a:pPr/>
              <a:t>15</a:t>
            </a:fld>
            <a:endParaRPr lang="en-GB"/>
          </a:p>
        </p:txBody>
      </p:sp>
      <p:pic>
        <p:nvPicPr>
          <p:cNvPr id="5" name="Kép 4">
            <a:extLst>
              <a:ext uri="{FF2B5EF4-FFF2-40B4-BE49-F238E27FC236}">
                <a16:creationId xmlns:a16="http://schemas.microsoft.com/office/drawing/2014/main" id="{78A311B3-1FB7-95DD-386F-64BD4DCE7DF0}"/>
              </a:ext>
            </a:extLst>
          </p:cNvPr>
          <p:cNvPicPr>
            <a:picLocks noChangeAspect="1"/>
          </p:cNvPicPr>
          <p:nvPr/>
        </p:nvPicPr>
        <p:blipFill>
          <a:blip r:embed="rId4"/>
          <a:stretch>
            <a:fillRect/>
          </a:stretch>
        </p:blipFill>
        <p:spPr>
          <a:xfrm>
            <a:off x="0" y="1110833"/>
            <a:ext cx="9906000" cy="4636333"/>
          </a:xfrm>
          <a:prstGeom prst="rect">
            <a:avLst/>
          </a:prstGeom>
        </p:spPr>
      </p:pic>
    </p:spTree>
    <p:extLst>
      <p:ext uri="{BB962C8B-B14F-4D97-AF65-F5344CB8AC3E}">
        <p14:creationId xmlns:p14="http://schemas.microsoft.com/office/powerpoint/2010/main" val="653364393"/>
      </p:ext>
    </p:extLst>
  </p:cSld>
  <p:clrMapOvr>
    <a:overrideClrMapping bg1="lt1" tx1="dk1" bg2="lt2" tx2="dk2" accent1="accent1" accent2="accent2" accent3="accent3" accent4="accent4" accent5="accent5" accent6="accent6" hlink="hlink" folHlink="folHlink"/>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t>KPI</a:t>
            </a:r>
            <a:r>
              <a:rPr lang="sk-SK" dirty="0"/>
              <a:t> 6</a:t>
            </a:r>
            <a:r>
              <a:rPr lang="pt-PT" dirty="0"/>
              <a:t>C - </a:t>
            </a:r>
            <a:r>
              <a:rPr lang="en-US" sz="1600" dirty="0"/>
              <a:t>Limiting constraints of the ATC domain​</a:t>
            </a:r>
            <a:endParaRPr lang="hu-HU" dirty="0"/>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ATC limiting constraints per TSO - Elia </a:t>
            </a:r>
          </a:p>
          <a:p>
            <a:endParaRPr lang="en-US" sz="1400" dirty="0"/>
          </a:p>
          <a:p>
            <a:endParaRPr lang="en-US" dirty="0"/>
          </a:p>
          <a:p>
            <a:endParaRPr lang="hu-HU" dirty="0"/>
          </a:p>
        </p:txBody>
      </p:sp>
      <p:sp>
        <p:nvSpPr>
          <p:cNvPr id="4" name="Slide Number Placeholder 3">
            <a:extLst>
              <a:ext uri="{FF2B5EF4-FFF2-40B4-BE49-F238E27FC236}">
                <a16:creationId xmlns:a16="http://schemas.microsoft.com/office/drawing/2014/main" id="{22256795-E9AD-F1F7-60D0-40BE8A875881}"/>
              </a:ext>
            </a:extLst>
          </p:cNvPr>
          <p:cNvSpPr>
            <a:spLocks noGrp="1"/>
          </p:cNvSpPr>
          <p:nvPr>
            <p:ph type="sldNum" sz="quarter" idx="4"/>
          </p:nvPr>
        </p:nvSpPr>
        <p:spPr/>
        <p:txBody>
          <a:bodyPr/>
          <a:lstStyle/>
          <a:p>
            <a:fld id="{F551322C-20B2-48C3-B63D-68158FEBF630}" type="slidenum">
              <a:rPr lang="en-US" smtClean="0"/>
              <a:pPr/>
              <a:t>16</a:t>
            </a:fld>
            <a:endParaRPr lang="en-GB"/>
          </a:p>
        </p:txBody>
      </p:sp>
      <p:pic>
        <p:nvPicPr>
          <p:cNvPr id="5" name="Tartalom helye 7">
            <a:extLst>
              <a:ext uri="{FF2B5EF4-FFF2-40B4-BE49-F238E27FC236}">
                <a16:creationId xmlns:a16="http://schemas.microsoft.com/office/drawing/2014/main" id="{C62439A9-0F7A-1F14-014F-06F5E6DFD633}"/>
              </a:ext>
            </a:extLst>
          </p:cNvPr>
          <p:cNvPicPr>
            <a:picLocks noGrp="1" noChangeAspect="1"/>
          </p:cNvPicPr>
          <p:nvPr>
            <p:ph sz="quarter" idx="17"/>
          </p:nvPr>
        </p:nvPicPr>
        <p:blipFill>
          <a:blip r:embed="rId4"/>
          <a:stretch>
            <a:fillRect/>
          </a:stretch>
        </p:blipFill>
        <p:spPr>
          <a:xfrm>
            <a:off x="259513" y="1405454"/>
            <a:ext cx="9386973" cy="4290265"/>
          </a:xfrm>
          <a:prstGeom prst="rect">
            <a:avLst/>
          </a:prstGeom>
        </p:spPr>
      </p:pic>
    </p:spTree>
    <p:extLst>
      <p:ext uri="{BB962C8B-B14F-4D97-AF65-F5344CB8AC3E}">
        <p14:creationId xmlns:p14="http://schemas.microsoft.com/office/powerpoint/2010/main" val="4077323791"/>
      </p:ext>
    </p:extLst>
  </p:cSld>
  <p:clrMapOvr>
    <a:overrideClrMapping bg1="lt1" tx1="dk1" bg2="lt2" tx2="dk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t>KPI</a:t>
            </a:r>
            <a:r>
              <a:rPr lang="sk-SK" dirty="0"/>
              <a:t> 6</a:t>
            </a:r>
            <a:r>
              <a:rPr lang="pt-PT" dirty="0"/>
              <a:t>C - </a:t>
            </a:r>
            <a:r>
              <a:rPr lang="en-US" sz="1600" dirty="0"/>
              <a:t>Limiting constraints of the ATC domain​</a:t>
            </a:r>
            <a:endParaRPr lang="hu-HU" dirty="0"/>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ATC limiting constraints per TSO – </a:t>
            </a:r>
            <a:r>
              <a:rPr lang="en-US" dirty="0"/>
              <a:t>CEPS</a:t>
            </a:r>
            <a:endParaRPr lang="en-US" sz="1400" dirty="0"/>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D5345948-DFB6-543A-17EE-D051D04A9C6E}"/>
              </a:ext>
            </a:extLst>
          </p:cNvPr>
          <p:cNvSpPr>
            <a:spLocks noGrp="1"/>
          </p:cNvSpPr>
          <p:nvPr>
            <p:ph type="sldNum" sz="quarter" idx="4"/>
          </p:nvPr>
        </p:nvSpPr>
        <p:spPr/>
        <p:txBody>
          <a:bodyPr/>
          <a:lstStyle/>
          <a:p>
            <a:fld id="{F551322C-20B2-48C3-B63D-68158FEBF630}" type="slidenum">
              <a:rPr lang="en-US" smtClean="0"/>
              <a:pPr/>
              <a:t>17</a:t>
            </a:fld>
            <a:endParaRPr lang="en-GB"/>
          </a:p>
        </p:txBody>
      </p:sp>
      <p:pic>
        <p:nvPicPr>
          <p:cNvPr id="4" name="Tartalom helye 6">
            <a:extLst>
              <a:ext uri="{FF2B5EF4-FFF2-40B4-BE49-F238E27FC236}">
                <a16:creationId xmlns:a16="http://schemas.microsoft.com/office/drawing/2014/main" id="{1A1E70CC-6DE5-F386-DEE5-4B2A2BBE52C0}"/>
              </a:ext>
            </a:extLst>
          </p:cNvPr>
          <p:cNvPicPr>
            <a:picLocks noGrp="1" noChangeAspect="1"/>
          </p:cNvPicPr>
          <p:nvPr>
            <p:ph sz="quarter" idx="17"/>
          </p:nvPr>
        </p:nvPicPr>
        <p:blipFill>
          <a:blip r:embed="rId4"/>
          <a:stretch>
            <a:fillRect/>
          </a:stretch>
        </p:blipFill>
        <p:spPr>
          <a:xfrm>
            <a:off x="496670" y="1352589"/>
            <a:ext cx="8912659" cy="4528086"/>
          </a:xfrm>
          <a:prstGeom prst="rect">
            <a:avLst/>
          </a:prstGeom>
        </p:spPr>
      </p:pic>
    </p:spTree>
    <p:extLst>
      <p:ext uri="{BB962C8B-B14F-4D97-AF65-F5344CB8AC3E}">
        <p14:creationId xmlns:p14="http://schemas.microsoft.com/office/powerpoint/2010/main" val="1835140078"/>
      </p:ext>
    </p:extLst>
  </p:cSld>
  <p:clrMapOvr>
    <a:overrideClrMapping bg1="lt1" tx1="dk1" bg2="lt2" tx2="dk2" accent1="accent1" accent2="accent2" accent3="accent3" accent4="accent4" accent5="accent5" accent6="accent6" hlink="hlink" folHlink="folHlink"/>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t>KPI</a:t>
            </a:r>
            <a:r>
              <a:rPr lang="sk-SK" dirty="0"/>
              <a:t> 6</a:t>
            </a:r>
            <a:r>
              <a:rPr lang="pt-PT" dirty="0"/>
              <a:t>C - </a:t>
            </a:r>
            <a:r>
              <a:rPr lang="en-US" sz="1600" dirty="0"/>
              <a:t>Limiting constraints of the ATC domain​</a:t>
            </a:r>
            <a:endParaRPr lang="hu-HU" dirty="0"/>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ATC limiting constraints per TSO – </a:t>
            </a:r>
            <a:r>
              <a:rPr lang="en-US" dirty="0" err="1"/>
              <a:t>Tennet</a:t>
            </a:r>
            <a:r>
              <a:rPr lang="en-US" dirty="0"/>
              <a:t> Germany</a:t>
            </a:r>
            <a:r>
              <a:rPr lang="en-US" sz="1400" dirty="0"/>
              <a:t> </a:t>
            </a:r>
          </a:p>
          <a:p>
            <a:endParaRPr lang="en-US" sz="1400" dirty="0"/>
          </a:p>
          <a:p>
            <a:endParaRPr lang="en-US" dirty="0"/>
          </a:p>
          <a:p>
            <a:endParaRPr lang="hu-HU" dirty="0"/>
          </a:p>
        </p:txBody>
      </p:sp>
      <p:sp>
        <p:nvSpPr>
          <p:cNvPr id="4" name="Slide Number Placeholder 3">
            <a:extLst>
              <a:ext uri="{FF2B5EF4-FFF2-40B4-BE49-F238E27FC236}">
                <a16:creationId xmlns:a16="http://schemas.microsoft.com/office/drawing/2014/main" id="{ED8127B9-8628-D741-8B81-688B31BD6F5B}"/>
              </a:ext>
            </a:extLst>
          </p:cNvPr>
          <p:cNvSpPr>
            <a:spLocks noGrp="1"/>
          </p:cNvSpPr>
          <p:nvPr>
            <p:ph type="sldNum" sz="quarter" idx="4"/>
          </p:nvPr>
        </p:nvSpPr>
        <p:spPr/>
        <p:txBody>
          <a:bodyPr/>
          <a:lstStyle/>
          <a:p>
            <a:fld id="{F551322C-20B2-48C3-B63D-68158FEBF630}" type="slidenum">
              <a:rPr lang="en-US" smtClean="0"/>
              <a:pPr/>
              <a:t>18</a:t>
            </a:fld>
            <a:endParaRPr lang="en-GB"/>
          </a:p>
        </p:txBody>
      </p:sp>
      <p:pic>
        <p:nvPicPr>
          <p:cNvPr id="5" name="Tartalom helye 6">
            <a:extLst>
              <a:ext uri="{FF2B5EF4-FFF2-40B4-BE49-F238E27FC236}">
                <a16:creationId xmlns:a16="http://schemas.microsoft.com/office/drawing/2014/main" id="{E3AE688F-6AC9-4B88-FFBE-C474C22E772A}"/>
              </a:ext>
            </a:extLst>
          </p:cNvPr>
          <p:cNvPicPr>
            <a:picLocks noGrp="1" noChangeAspect="1"/>
          </p:cNvPicPr>
          <p:nvPr>
            <p:ph sz="quarter" idx="17"/>
          </p:nvPr>
        </p:nvPicPr>
        <p:blipFill>
          <a:blip r:embed="rId4"/>
          <a:stretch>
            <a:fillRect/>
          </a:stretch>
        </p:blipFill>
        <p:spPr>
          <a:xfrm>
            <a:off x="175599" y="1343905"/>
            <a:ext cx="9441330" cy="4583170"/>
          </a:xfrm>
          <a:prstGeom prst="rect">
            <a:avLst/>
          </a:prstGeom>
        </p:spPr>
      </p:pic>
    </p:spTree>
    <p:extLst>
      <p:ext uri="{BB962C8B-B14F-4D97-AF65-F5344CB8AC3E}">
        <p14:creationId xmlns:p14="http://schemas.microsoft.com/office/powerpoint/2010/main" val="671630752"/>
      </p:ext>
    </p:extLst>
  </p:cSld>
  <p:clrMapOvr>
    <a:overrideClrMapping bg1="lt1" tx1="dk1" bg2="lt2" tx2="dk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t>KPI</a:t>
            </a:r>
            <a:r>
              <a:rPr lang="sk-SK" dirty="0"/>
              <a:t> 6</a:t>
            </a:r>
            <a:r>
              <a:rPr lang="pt-PT" dirty="0"/>
              <a:t>C - </a:t>
            </a:r>
            <a:r>
              <a:rPr lang="en-US" sz="1600" dirty="0"/>
              <a:t>Limiting constraints of the ATC domain​</a:t>
            </a:r>
            <a:endParaRPr lang="hu-HU" dirty="0"/>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ATC limiting constraints per TSO – Transnet</a:t>
            </a:r>
          </a:p>
          <a:p>
            <a:endParaRPr lang="en-US" sz="1400" dirty="0"/>
          </a:p>
          <a:p>
            <a:endParaRPr lang="en-US" dirty="0"/>
          </a:p>
          <a:p>
            <a:endParaRPr lang="hu-HU" dirty="0"/>
          </a:p>
        </p:txBody>
      </p:sp>
      <p:sp>
        <p:nvSpPr>
          <p:cNvPr id="4" name="Slide Number Placeholder 3">
            <a:extLst>
              <a:ext uri="{FF2B5EF4-FFF2-40B4-BE49-F238E27FC236}">
                <a16:creationId xmlns:a16="http://schemas.microsoft.com/office/drawing/2014/main" id="{0FA348E2-9508-D1CD-0AB3-428F006A77F5}"/>
              </a:ext>
            </a:extLst>
          </p:cNvPr>
          <p:cNvSpPr>
            <a:spLocks noGrp="1"/>
          </p:cNvSpPr>
          <p:nvPr>
            <p:ph type="sldNum" sz="quarter" idx="4"/>
          </p:nvPr>
        </p:nvSpPr>
        <p:spPr/>
        <p:txBody>
          <a:bodyPr/>
          <a:lstStyle/>
          <a:p>
            <a:fld id="{F551322C-20B2-48C3-B63D-68158FEBF630}" type="slidenum">
              <a:rPr lang="en-US" smtClean="0"/>
              <a:pPr/>
              <a:t>19</a:t>
            </a:fld>
            <a:endParaRPr lang="en-GB"/>
          </a:p>
        </p:txBody>
      </p:sp>
      <p:pic>
        <p:nvPicPr>
          <p:cNvPr id="5" name="Tartalom helye 6">
            <a:extLst>
              <a:ext uri="{FF2B5EF4-FFF2-40B4-BE49-F238E27FC236}">
                <a16:creationId xmlns:a16="http://schemas.microsoft.com/office/drawing/2014/main" id="{7FEDE9F4-8C20-AF4E-AC45-E83B21D55D1D}"/>
              </a:ext>
            </a:extLst>
          </p:cNvPr>
          <p:cNvPicPr>
            <a:picLocks noGrp="1" noChangeAspect="1"/>
          </p:cNvPicPr>
          <p:nvPr>
            <p:ph sz="quarter" idx="17"/>
          </p:nvPr>
        </p:nvPicPr>
        <p:blipFill>
          <a:blip r:embed="rId4"/>
          <a:stretch>
            <a:fillRect/>
          </a:stretch>
        </p:blipFill>
        <p:spPr>
          <a:xfrm>
            <a:off x="1353093" y="1079500"/>
            <a:ext cx="7372851" cy="4321175"/>
          </a:xfrm>
          <a:prstGeom prst="rect">
            <a:avLst/>
          </a:prstGeom>
        </p:spPr>
      </p:pic>
    </p:spTree>
    <p:extLst>
      <p:ext uri="{BB962C8B-B14F-4D97-AF65-F5344CB8AC3E}">
        <p14:creationId xmlns:p14="http://schemas.microsoft.com/office/powerpoint/2010/main" val="3713746895"/>
      </p:ext>
    </p:extLst>
  </p:cSld>
  <p:clrMapOvr>
    <a:overrideClrMapping bg1="lt1" tx1="dk1" bg2="lt2" tx2="dk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nl-NL" sz="1600" dirty="0" err="1"/>
              <a:t>External</a:t>
            </a:r>
            <a:r>
              <a:rPr lang="nl-NL" sz="1600" dirty="0"/>
              <a:t> // run KPI report</a:t>
            </a:r>
            <a:endParaRPr lang="en-US" sz="1600" dirty="0"/>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p:txBody>
          <a:bodyPr/>
          <a:lstStyle/>
          <a:p>
            <a:r>
              <a:rPr lang="en-US" dirty="0"/>
              <a:t>Introduction, reporting period and limitations</a:t>
            </a:r>
          </a:p>
        </p:txBody>
      </p:sp>
      <p:sp>
        <p:nvSpPr>
          <p:cNvPr id="4" name="Content Placeholder 3">
            <a:extLst>
              <a:ext uri="{FF2B5EF4-FFF2-40B4-BE49-F238E27FC236}">
                <a16:creationId xmlns:a16="http://schemas.microsoft.com/office/drawing/2014/main" id="{47ED7675-6667-D24B-91BC-481190D00DC0}"/>
              </a:ext>
            </a:extLst>
          </p:cNvPr>
          <p:cNvSpPr>
            <a:spLocks noGrp="1"/>
          </p:cNvSpPr>
          <p:nvPr>
            <p:ph sz="quarter" idx="17"/>
          </p:nvPr>
        </p:nvSpPr>
        <p:spPr>
          <a:xfrm>
            <a:off x="540000" y="940299"/>
            <a:ext cx="8939475" cy="5744696"/>
          </a:xfrm>
        </p:spPr>
        <p:txBody>
          <a:bodyPr vert="horz" lIns="91440" tIns="45720" rIns="91440" bIns="45720" rtlCol="0" anchor="t">
            <a:noAutofit/>
          </a:bodyPr>
          <a:lstStyle/>
          <a:p>
            <a:pPr marL="0" marR="0" lvl="0" indent="0" algn="l" defTabSz="914400" rtl="0" eaLnBrk="1" fontAlgn="base" latinLnBrk="0" hangingPunct="1">
              <a:lnSpc>
                <a:spcPct val="100000"/>
              </a:lnSpc>
              <a:spcBef>
                <a:spcPts val="400"/>
              </a:spcBef>
              <a:spcAft>
                <a:spcPct val="0"/>
              </a:spcAft>
              <a:buClrTx/>
              <a:buSzPct val="100000"/>
              <a:buFont typeface="Arial" panose="020B0604020202020204" pitchFamily="34" charset="0"/>
              <a:buNone/>
              <a:tabLst/>
              <a:defRPr/>
            </a:pPr>
            <a:r>
              <a:rPr kumimoji="0" lang="en-US" sz="1400" b="1" i="0" u="none" strike="noStrike" kern="0" cap="none" spc="0" normalizeH="0" baseline="0" dirty="0">
                <a:ln>
                  <a:noFill/>
                </a:ln>
                <a:solidFill>
                  <a:srgbClr val="3366FF"/>
                </a:solidFill>
                <a:effectLst/>
                <a:uLnTx/>
                <a:uFillTx/>
                <a:latin typeface="Arial"/>
                <a:ea typeface="Arial Unicode MS" panose="020B0604020202020204" pitchFamily="34" charset="-128"/>
                <a:cs typeface="Arial" panose="020B0604020202020204" pitchFamily="34" charset="0"/>
              </a:rPr>
              <a:t>Context</a:t>
            </a:r>
          </a:p>
          <a:p>
            <a:pPr lvl="1"/>
            <a:r>
              <a:rPr lang="en-US" sz="1200" dirty="0">
                <a:ea typeface="Arial Unicode MS"/>
                <a:cs typeface="Arial"/>
              </a:rPr>
              <a:t>According to Article 2</a:t>
            </a:r>
            <a:r>
              <a:rPr lang="sk-SK" sz="1200" dirty="0">
                <a:ea typeface="Arial Unicode MS"/>
                <a:cs typeface="Arial"/>
              </a:rPr>
              <a:t>6</a:t>
            </a:r>
            <a:r>
              <a:rPr lang="en-US" sz="1200" dirty="0">
                <a:ea typeface="Arial Unicode MS"/>
                <a:cs typeface="Arial"/>
              </a:rPr>
              <a:t>(4) of the Core FB </a:t>
            </a:r>
            <a:r>
              <a:rPr lang="sk-SK" sz="1200" dirty="0">
                <a:ea typeface="Arial Unicode MS"/>
                <a:cs typeface="Arial"/>
              </a:rPr>
              <a:t>ID</a:t>
            </a:r>
            <a:r>
              <a:rPr lang="en-US" sz="1200" dirty="0">
                <a:ea typeface="Arial Unicode MS"/>
                <a:cs typeface="Arial"/>
              </a:rPr>
              <a:t> CCM, </a:t>
            </a:r>
            <a:r>
              <a:rPr lang="en-US" sz="1050" i="1" dirty="0">
                <a:ea typeface="Arial Unicode MS"/>
                <a:cs typeface="Arial"/>
              </a:rPr>
              <a:t>“Core TSOs shall continuously monitor the effects and the performance of the application of this methodology during the parallel run. And shall develop, in coordination with the Core regulatory authorities, the Agency and stakeholders, the monitoring and performance criteria and report on the outcome of this monitoring on quarterly basis in a report”.</a:t>
            </a:r>
            <a:endParaRPr lang="sk-SK" i="1" dirty="0">
              <a:ea typeface="Arial Unicode MS"/>
              <a:cs typeface="Arial"/>
            </a:endParaRPr>
          </a:p>
          <a:p>
            <a:pPr lvl="1">
              <a:defRPr/>
            </a:pPr>
            <a:r>
              <a:rPr lang="en-US" dirty="0">
                <a:ea typeface="Arial Unicode MS"/>
                <a:cs typeface="Arial"/>
              </a:rPr>
              <a:t>IDCC(c) external // run started on </a:t>
            </a:r>
            <a:r>
              <a:rPr lang="en-US" b="1" dirty="0">
                <a:ea typeface="Arial Unicode MS"/>
                <a:cs typeface="Arial"/>
              </a:rPr>
              <a:t>17th of December 2024</a:t>
            </a:r>
            <a:r>
              <a:rPr lang="en-US" dirty="0">
                <a:ea typeface="Arial Unicode MS"/>
                <a:cs typeface="Arial"/>
              </a:rPr>
              <a:t>. The results of IDCC(c) have been published on </a:t>
            </a:r>
            <a:r>
              <a:rPr lang="sk-SK" dirty="0">
                <a:ea typeface="Arial Unicode MS"/>
                <a:cs typeface="Arial"/>
              </a:rPr>
              <a:t>[</a:t>
            </a:r>
            <a:r>
              <a:rPr lang="en-US" dirty="0">
                <a:solidFill>
                  <a:srgbClr val="3F3F3F"/>
                </a:solidFill>
                <a:ea typeface="Arial Unicode MS"/>
                <a:cs typeface="Arial"/>
                <a:hlinkClick r:id="rId6">
                  <a:extLst>
                    <a:ext uri="{A12FA001-AC4F-418D-AE19-62706E023703}">
                      <ahyp:hlinkClr xmlns:ahyp="http://schemas.microsoft.com/office/drawing/2018/hyperlinkcolor" val="tx"/>
                    </a:ext>
                  </a:extLst>
                </a:hlinkClick>
              </a:rPr>
              <a:t>JAO website</a:t>
            </a:r>
            <a:r>
              <a:rPr lang="sk-SK" dirty="0">
                <a:ea typeface="Arial Unicode MS"/>
                <a:cs typeface="Arial"/>
              </a:rPr>
              <a:t>]</a:t>
            </a:r>
            <a:endParaRPr lang="pt-PT" dirty="0">
              <a:latin typeface="Arial"/>
            </a:endParaRPr>
          </a:p>
          <a:p>
            <a:pPr lvl="0">
              <a:lnSpc>
                <a:spcPct val="150000"/>
              </a:lnSpc>
            </a:pPr>
            <a:r>
              <a:rPr lang="en-US" b="1" dirty="0"/>
              <a:t>Reporting period</a:t>
            </a:r>
          </a:p>
          <a:p>
            <a:pPr lvl="1"/>
            <a:r>
              <a:rPr lang="en-US" dirty="0">
                <a:ea typeface="Arial Unicode MS"/>
                <a:cs typeface="Arial"/>
              </a:rPr>
              <a:t>This report covers 3.5 months (17/12/2024 – 31/03/2025) of IDCC(c) EXT //run results in the Core region.</a:t>
            </a:r>
          </a:p>
          <a:p>
            <a:pPr lvl="1"/>
            <a:r>
              <a:rPr lang="en-US" dirty="0">
                <a:ea typeface="Arial Unicode MS"/>
                <a:cs typeface="Arial"/>
              </a:rPr>
              <a:t>11 business days have been excluded from the computation of KPIs due to: </a:t>
            </a:r>
          </a:p>
          <a:p>
            <a:pPr lvl="1"/>
            <a:endParaRPr lang="en-US" dirty="0">
              <a:ea typeface="Arial Unicode MS"/>
              <a:cs typeface="Arial"/>
            </a:endParaRPr>
          </a:p>
          <a:p>
            <a:pPr lvl="1"/>
            <a:endParaRPr lang="en-US" dirty="0">
              <a:ea typeface="Arial Unicode MS"/>
              <a:cs typeface="Arial"/>
            </a:endParaRPr>
          </a:p>
          <a:p>
            <a:pPr lvl="1"/>
            <a:endParaRPr lang="en-US" dirty="0">
              <a:ea typeface="Arial Unicode MS"/>
              <a:cs typeface="Arial"/>
            </a:endParaRPr>
          </a:p>
          <a:p>
            <a:pPr lvl="1"/>
            <a:endParaRPr lang="en-US" dirty="0">
              <a:ea typeface="Arial Unicode MS"/>
              <a:cs typeface="Arial"/>
            </a:endParaRPr>
          </a:p>
          <a:p>
            <a:pPr lvl="1"/>
            <a:endParaRPr lang="en-US" dirty="0">
              <a:ea typeface="Arial Unicode MS"/>
              <a:cs typeface="Arial"/>
            </a:endParaRPr>
          </a:p>
          <a:p>
            <a:pPr lvl="1"/>
            <a:endParaRPr lang="en-US" dirty="0">
              <a:ea typeface="Arial Unicode MS"/>
              <a:cs typeface="Arial"/>
            </a:endParaRPr>
          </a:p>
          <a:p>
            <a:pPr lvl="1"/>
            <a:endParaRPr lang="en-US" dirty="0">
              <a:ea typeface="Arial Unicode MS"/>
              <a:cs typeface="Arial"/>
            </a:endParaRPr>
          </a:p>
          <a:p>
            <a:pPr lvl="1"/>
            <a:endParaRPr lang="en-US" dirty="0">
              <a:ea typeface="Arial Unicode MS"/>
              <a:cs typeface="Arial"/>
            </a:endParaRPr>
          </a:p>
          <a:p>
            <a:pPr lvl="1"/>
            <a:r>
              <a:rPr lang="en-US" dirty="0">
                <a:ea typeface="Arial Unicode MS"/>
                <a:cs typeface="Arial"/>
              </a:rPr>
              <a:t>For 4 business days the IDCC(c) process failed due to the </a:t>
            </a:r>
            <a:r>
              <a:rPr lang="en-US" dirty="0">
                <a:solidFill>
                  <a:srgbClr val="0100FE"/>
                </a:solidFill>
                <a:ea typeface="Arial Unicode MS"/>
                <a:cs typeface="Arial"/>
              </a:rPr>
              <a:t>merging package delivery</a:t>
            </a:r>
            <a:r>
              <a:rPr lang="en-US" dirty="0">
                <a:ea typeface="Arial Unicode MS"/>
                <a:cs typeface="Arial"/>
              </a:rPr>
              <a:t>. The implementation of an automatic merging solution is deployed since 13</a:t>
            </a:r>
            <a:r>
              <a:rPr lang="en-US" baseline="30000" dirty="0">
                <a:ea typeface="Arial Unicode MS"/>
                <a:cs typeface="Arial"/>
              </a:rPr>
              <a:t>th</a:t>
            </a:r>
            <a:r>
              <a:rPr lang="en-US" dirty="0">
                <a:ea typeface="Arial Unicode MS"/>
                <a:cs typeface="Arial"/>
              </a:rPr>
              <a:t> February, and this issue is solved. For the rest of the excluded days, the problems identified were occasional and solved.</a:t>
            </a:r>
          </a:p>
          <a:p>
            <a:pPr lvl="1"/>
            <a:r>
              <a:rPr lang="en-US" dirty="0">
                <a:ea typeface="Arial Unicode MS"/>
                <a:cs typeface="Arial"/>
              </a:rPr>
              <a:t>For information, the business days with an IDCF of 1:15 instead of 2:15:</a:t>
            </a:r>
          </a:p>
          <a:p>
            <a:pPr lvl="2"/>
            <a:r>
              <a:rPr lang="en-US" dirty="0">
                <a:ea typeface="Arial Unicode MS"/>
                <a:cs typeface="Arial"/>
              </a:rPr>
              <a:t>29/12/2024, 30/12/2024, 09/01/2025, 17/01/2025, 23/01/2025, 24/01/2025, 30/03/2025</a:t>
            </a:r>
          </a:p>
          <a:p>
            <a:pPr lvl="0">
              <a:lnSpc>
                <a:spcPct val="150000"/>
              </a:lnSpc>
            </a:pPr>
            <a:r>
              <a:rPr lang="en-US" b="1" dirty="0"/>
              <a:t>Disclaimers (if any)</a:t>
            </a:r>
          </a:p>
          <a:p>
            <a:pPr lvl="1"/>
            <a:r>
              <a:rPr lang="en-GB" dirty="0">
                <a:ea typeface="Arial Unicode MS"/>
                <a:cs typeface="Arial"/>
              </a:rPr>
              <a:t>Until 07/03 the results are impacted by incorrect AACs due to incorrect MTU configuration for some border directions.</a:t>
            </a:r>
            <a:endParaRPr lang="en-US" dirty="0">
              <a:solidFill>
                <a:srgbClr val="000000"/>
              </a:solidFill>
              <a:ea typeface="Arial Unicode MS"/>
              <a:cs typeface="Arial"/>
            </a:endParaRPr>
          </a:p>
          <a:p>
            <a:pPr lvl="1"/>
            <a:r>
              <a:rPr lang="en-GB" dirty="0">
                <a:ea typeface="Arial Unicode MS"/>
                <a:cs typeface="Arial"/>
              </a:rPr>
              <a:t>TSOs are still developing their individual validation tools. ĆEPS, Elia, RTE, SEPS perform validation (Status on 02/04)</a:t>
            </a:r>
            <a:endParaRPr lang="en-US" dirty="0"/>
          </a:p>
        </p:txBody>
      </p:sp>
      <p:graphicFrame>
        <p:nvGraphicFramePr>
          <p:cNvPr id="2" name="Table 1">
            <a:extLst>
              <a:ext uri="{FF2B5EF4-FFF2-40B4-BE49-F238E27FC236}">
                <a16:creationId xmlns:a16="http://schemas.microsoft.com/office/drawing/2014/main" id="{BA28C580-B42A-A396-FD3B-CD2F09533169}"/>
              </a:ext>
            </a:extLst>
          </p:cNvPr>
          <p:cNvGraphicFramePr>
            <a:graphicFrameLocks noGrp="1"/>
          </p:cNvGraphicFramePr>
          <p:nvPr>
            <p:extLst>
              <p:ext uri="{D42A27DB-BD31-4B8C-83A1-F6EECF244321}">
                <p14:modId xmlns:p14="http://schemas.microsoft.com/office/powerpoint/2010/main" val="3989714033"/>
              </p:ext>
            </p:extLst>
          </p:nvPr>
        </p:nvGraphicFramePr>
        <p:xfrm>
          <a:off x="735452" y="2918586"/>
          <a:ext cx="4466350" cy="1645920"/>
        </p:xfrm>
        <a:graphic>
          <a:graphicData uri="http://schemas.openxmlformats.org/drawingml/2006/table">
            <a:tbl>
              <a:tblPr firstRow="1" bandRow="1">
                <a:tableStyleId>{8A107856-5554-42FB-B03E-39F5DBC370BA}</a:tableStyleId>
              </a:tblPr>
              <a:tblGrid>
                <a:gridCol w="742364">
                  <a:extLst>
                    <a:ext uri="{9D8B030D-6E8A-4147-A177-3AD203B41FA5}">
                      <a16:colId xmlns:a16="http://schemas.microsoft.com/office/drawing/2014/main" val="3443709706"/>
                    </a:ext>
                  </a:extLst>
                </a:gridCol>
                <a:gridCol w="2715800">
                  <a:extLst>
                    <a:ext uri="{9D8B030D-6E8A-4147-A177-3AD203B41FA5}">
                      <a16:colId xmlns:a16="http://schemas.microsoft.com/office/drawing/2014/main" val="4070834036"/>
                    </a:ext>
                  </a:extLst>
                </a:gridCol>
                <a:gridCol w="1008186">
                  <a:extLst>
                    <a:ext uri="{9D8B030D-6E8A-4147-A177-3AD203B41FA5}">
                      <a16:colId xmlns:a16="http://schemas.microsoft.com/office/drawing/2014/main" val="3811586343"/>
                    </a:ext>
                  </a:extLst>
                </a:gridCol>
              </a:tblGrid>
              <a:tr h="240168">
                <a:tc>
                  <a:txBody>
                    <a:bodyPr/>
                    <a:lstStyle/>
                    <a:p>
                      <a:r>
                        <a:rPr lang="pt-PT" sz="900" b="1" dirty="0">
                          <a:solidFill>
                            <a:schemeClr val="bg1"/>
                          </a:solidFill>
                        </a:rPr>
                        <a:t>BD</a:t>
                      </a:r>
                      <a:endParaRPr lang="LID4096" sz="900" b="1" dirty="0">
                        <a:solidFill>
                          <a:schemeClr val="bg1"/>
                        </a:solidFill>
                      </a:endParaRPr>
                    </a:p>
                  </a:txBody>
                  <a:tcPr>
                    <a:solidFill>
                      <a:schemeClr val="accent2"/>
                    </a:solidFill>
                  </a:tcPr>
                </a:tc>
                <a:tc>
                  <a:txBody>
                    <a:bodyPr/>
                    <a:lstStyle/>
                    <a:p>
                      <a:r>
                        <a:rPr lang="pt-PT" sz="900" b="1" dirty="0">
                          <a:solidFill>
                            <a:schemeClr val="bg1"/>
                          </a:solidFill>
                        </a:rPr>
                        <a:t>Reason</a:t>
                      </a:r>
                      <a:endParaRPr lang="LID4096" sz="900" b="1" dirty="0">
                        <a:solidFill>
                          <a:schemeClr val="bg1"/>
                        </a:solidFill>
                      </a:endParaRPr>
                    </a:p>
                  </a:txBody>
                  <a:tcPr>
                    <a:solidFill>
                      <a:schemeClr val="accent2"/>
                    </a:solidFill>
                  </a:tcPr>
                </a:tc>
                <a:tc>
                  <a:txBody>
                    <a:bodyPr/>
                    <a:lstStyle/>
                    <a:p>
                      <a:r>
                        <a:rPr lang="pt-PT" sz="900" b="1" dirty="0">
                          <a:solidFill>
                            <a:schemeClr val="bg1"/>
                          </a:solidFill>
                        </a:rPr>
                        <a:t>Fallback/</a:t>
                      </a:r>
                    </a:p>
                    <a:p>
                      <a:r>
                        <a:rPr lang="pt-PT" sz="900" b="1" dirty="0">
                          <a:solidFill>
                            <a:schemeClr val="bg1"/>
                          </a:solidFill>
                        </a:rPr>
                        <a:t>Process failure</a:t>
                      </a:r>
                      <a:endParaRPr lang="LID4096" sz="900" b="1" dirty="0">
                        <a:solidFill>
                          <a:schemeClr val="bg1"/>
                        </a:solidFill>
                      </a:endParaRPr>
                    </a:p>
                  </a:txBody>
                  <a:tcPr>
                    <a:solidFill>
                      <a:schemeClr val="accent2"/>
                    </a:solidFill>
                  </a:tcPr>
                </a:tc>
                <a:extLst>
                  <a:ext uri="{0D108BD9-81ED-4DB2-BD59-A6C34878D82A}">
                    <a16:rowId xmlns:a16="http://schemas.microsoft.com/office/drawing/2014/main" val="484507271"/>
                  </a:ext>
                </a:extLst>
              </a:tr>
              <a:tr h="140098">
                <a:tc>
                  <a:txBody>
                    <a:bodyPr/>
                    <a:lstStyle/>
                    <a:p>
                      <a:r>
                        <a:rPr lang="pt-PT" sz="800" dirty="0"/>
                        <a:t>18/12/2024</a:t>
                      </a:r>
                      <a:endParaRPr lang="LID4096" sz="800" dirty="0"/>
                    </a:p>
                  </a:txBody>
                  <a:tcPr/>
                </a:tc>
                <a:tc>
                  <a:txBody>
                    <a:bodyPr/>
                    <a:lstStyle/>
                    <a:p>
                      <a:r>
                        <a:rPr lang="pt-PT" sz="800" dirty="0">
                          <a:solidFill>
                            <a:srgbClr val="0100FE"/>
                          </a:solidFill>
                        </a:rPr>
                        <a:t>Manual selection of CGM of the incorrect BD</a:t>
                      </a:r>
                      <a:endParaRPr lang="LID4096" sz="800" dirty="0">
                        <a:solidFill>
                          <a:srgbClr val="0100FE"/>
                        </a:solidFill>
                      </a:endParaRPr>
                    </a:p>
                  </a:txBody>
                  <a:tcPr/>
                </a:tc>
                <a:tc rowSpan="3">
                  <a:txBody>
                    <a:bodyPr/>
                    <a:lstStyle/>
                    <a:p>
                      <a:r>
                        <a:rPr lang="pt-PT" sz="800" dirty="0"/>
                        <a:t>DA Domain AAC Fallback</a:t>
                      </a:r>
                    </a:p>
                  </a:txBody>
                  <a:tcPr/>
                </a:tc>
                <a:extLst>
                  <a:ext uri="{0D108BD9-81ED-4DB2-BD59-A6C34878D82A}">
                    <a16:rowId xmlns:a16="http://schemas.microsoft.com/office/drawing/2014/main" val="2363907790"/>
                  </a:ext>
                </a:extLst>
              </a:tr>
              <a:tr h="140098">
                <a:tc>
                  <a:txBody>
                    <a:bodyPr/>
                    <a:lstStyle/>
                    <a:p>
                      <a:pPr marL="0" marR="0" lvl="0" indent="0" algn="l" defTabSz="440284" rtl="0" eaLnBrk="1" fontAlgn="auto" latinLnBrk="0" hangingPunct="1">
                        <a:lnSpc>
                          <a:spcPct val="100000"/>
                        </a:lnSpc>
                        <a:spcBef>
                          <a:spcPts val="0"/>
                        </a:spcBef>
                        <a:spcAft>
                          <a:spcPts val="0"/>
                        </a:spcAft>
                        <a:buClrTx/>
                        <a:buSzTx/>
                        <a:buFontTx/>
                        <a:buNone/>
                        <a:tabLst/>
                        <a:defRPr/>
                      </a:pPr>
                      <a:r>
                        <a:rPr lang="pt-PT" sz="800" dirty="0"/>
                        <a:t>26/12/2024</a:t>
                      </a:r>
                      <a:endParaRPr lang="LID4096" sz="800" dirty="0"/>
                    </a:p>
                  </a:txBody>
                  <a:tcPr/>
                </a:tc>
                <a:tc>
                  <a:txBody>
                    <a:bodyPr/>
                    <a:lstStyle/>
                    <a:p>
                      <a:r>
                        <a:rPr lang="pt-PT" sz="800" dirty="0" err="1">
                          <a:solidFill>
                            <a:srgbClr val="0100FE"/>
                          </a:solidFill>
                        </a:rPr>
                        <a:t>Isolated</a:t>
                      </a:r>
                      <a:r>
                        <a:rPr lang="pt-PT" sz="800" dirty="0">
                          <a:solidFill>
                            <a:srgbClr val="0100FE"/>
                          </a:solidFill>
                        </a:rPr>
                        <a:t> </a:t>
                      </a:r>
                      <a:r>
                        <a:rPr lang="pt-PT" sz="800" dirty="0" err="1">
                          <a:solidFill>
                            <a:srgbClr val="0100FE"/>
                          </a:solidFill>
                        </a:rPr>
                        <a:t>issue</a:t>
                      </a:r>
                      <a:r>
                        <a:rPr lang="pt-PT" sz="800" dirty="0">
                          <a:solidFill>
                            <a:srgbClr val="0100FE"/>
                          </a:solidFill>
                        </a:rPr>
                        <a:t> </a:t>
                      </a:r>
                      <a:r>
                        <a:rPr lang="pt-PT" sz="800" dirty="0" err="1">
                          <a:solidFill>
                            <a:srgbClr val="0100FE"/>
                          </a:solidFill>
                        </a:rPr>
                        <a:t>with</a:t>
                      </a:r>
                      <a:r>
                        <a:rPr lang="pt-PT" sz="800" dirty="0">
                          <a:solidFill>
                            <a:srgbClr val="0100FE"/>
                          </a:solidFill>
                        </a:rPr>
                        <a:t> </a:t>
                      </a:r>
                      <a:r>
                        <a:rPr lang="pt-PT" sz="800" dirty="0" err="1">
                          <a:solidFill>
                            <a:srgbClr val="0100FE"/>
                          </a:solidFill>
                        </a:rPr>
                        <a:t>duplicated</a:t>
                      </a:r>
                      <a:r>
                        <a:rPr lang="pt-PT" sz="800" dirty="0">
                          <a:solidFill>
                            <a:srgbClr val="0100FE"/>
                          </a:solidFill>
                        </a:rPr>
                        <a:t> </a:t>
                      </a:r>
                      <a:r>
                        <a:rPr lang="pt-PT" sz="800" dirty="0" err="1">
                          <a:solidFill>
                            <a:srgbClr val="0100FE"/>
                          </a:solidFill>
                        </a:rPr>
                        <a:t>merging</a:t>
                      </a:r>
                      <a:r>
                        <a:rPr lang="pt-PT" sz="800" dirty="0">
                          <a:solidFill>
                            <a:srgbClr val="0100FE"/>
                          </a:solidFill>
                        </a:rPr>
                        <a:t> </a:t>
                      </a:r>
                      <a:r>
                        <a:rPr lang="pt-PT" sz="800" dirty="0" err="1">
                          <a:solidFill>
                            <a:srgbClr val="0100FE"/>
                          </a:solidFill>
                        </a:rPr>
                        <a:t>request</a:t>
                      </a:r>
                      <a:endParaRPr lang="LID4096" sz="800" dirty="0" err="1">
                        <a:solidFill>
                          <a:srgbClr val="0100FE"/>
                        </a:solidFill>
                      </a:endParaRPr>
                    </a:p>
                  </a:txBody>
                  <a:tcPr/>
                </a:tc>
                <a:tc vMerge="1">
                  <a:txBody>
                    <a:bodyPr/>
                    <a:lstStyle/>
                    <a:p>
                      <a:endParaRPr/>
                    </a:p>
                  </a:txBody>
                  <a:tcPr/>
                </a:tc>
                <a:extLst>
                  <a:ext uri="{0D108BD9-81ED-4DB2-BD59-A6C34878D82A}">
                    <a16:rowId xmlns:a16="http://schemas.microsoft.com/office/drawing/2014/main" val="3342969787"/>
                  </a:ext>
                </a:extLst>
              </a:tr>
              <a:tr h="140098">
                <a:tc>
                  <a:txBody>
                    <a:bodyPr/>
                    <a:lstStyle/>
                    <a:p>
                      <a:pPr marL="0" marR="0" lvl="0" indent="0" algn="l" defTabSz="440284" rtl="0" eaLnBrk="1" fontAlgn="auto" latinLnBrk="0" hangingPunct="1">
                        <a:lnSpc>
                          <a:spcPct val="100000"/>
                        </a:lnSpc>
                        <a:spcBef>
                          <a:spcPts val="0"/>
                        </a:spcBef>
                        <a:spcAft>
                          <a:spcPts val="0"/>
                        </a:spcAft>
                        <a:buClrTx/>
                        <a:buSzTx/>
                        <a:buFontTx/>
                        <a:buNone/>
                        <a:tabLst/>
                        <a:defRPr/>
                      </a:pPr>
                      <a:r>
                        <a:rPr lang="pt-PT" sz="800" dirty="0"/>
                        <a:t>28/12/2024</a:t>
                      </a:r>
                      <a:endParaRPr lang="LID4096" sz="800" dirty="0"/>
                    </a:p>
                  </a:txBody>
                  <a:tcPr/>
                </a:tc>
                <a:tc>
                  <a:txBody>
                    <a:bodyPr/>
                    <a:lstStyle/>
                    <a:p>
                      <a:r>
                        <a:rPr lang="pt-PT" sz="800" dirty="0">
                          <a:solidFill>
                            <a:srgbClr val="0100FE"/>
                          </a:solidFill>
                        </a:rPr>
                        <a:t>Merging package delivery failed</a:t>
                      </a:r>
                      <a:endParaRPr lang="LID4096" sz="800" dirty="0">
                        <a:solidFill>
                          <a:srgbClr val="0100FE"/>
                        </a:solidFill>
                      </a:endParaRPr>
                    </a:p>
                  </a:txBody>
                  <a:tcPr/>
                </a:tc>
                <a:tc vMerge="1">
                  <a:txBody>
                    <a:bodyPr/>
                    <a:lstStyle/>
                    <a:p>
                      <a:endParaRPr dirty="0"/>
                    </a:p>
                  </a:txBody>
                  <a:tcPr/>
                </a:tc>
                <a:extLst>
                  <a:ext uri="{0D108BD9-81ED-4DB2-BD59-A6C34878D82A}">
                    <a16:rowId xmlns:a16="http://schemas.microsoft.com/office/drawing/2014/main" val="4198060521"/>
                  </a:ext>
                </a:extLst>
              </a:tr>
              <a:tr h="140098">
                <a:tc>
                  <a:txBody>
                    <a:bodyPr/>
                    <a:lstStyle/>
                    <a:p>
                      <a:pPr marL="0" marR="0" lvl="0" indent="0" algn="l" defTabSz="440284" rtl="0" eaLnBrk="1" fontAlgn="auto" latinLnBrk="0" hangingPunct="1">
                        <a:lnSpc>
                          <a:spcPct val="100000"/>
                        </a:lnSpc>
                        <a:spcBef>
                          <a:spcPts val="0"/>
                        </a:spcBef>
                        <a:spcAft>
                          <a:spcPts val="0"/>
                        </a:spcAft>
                        <a:buClrTx/>
                        <a:buSzTx/>
                        <a:buFontTx/>
                        <a:buNone/>
                        <a:tabLst/>
                        <a:defRPr/>
                      </a:pPr>
                      <a:r>
                        <a:rPr lang="pt-PT" sz="800" dirty="0"/>
                        <a:t>23/01/2025</a:t>
                      </a:r>
                      <a:endParaRPr lang="LID4096" sz="800" dirty="0"/>
                    </a:p>
                  </a:txBody>
                  <a:tcPr/>
                </a:tc>
                <a:tc>
                  <a:txBody>
                    <a:bodyPr/>
                    <a:lstStyle/>
                    <a:p>
                      <a:r>
                        <a:rPr lang="pt-PT" sz="800" dirty="0"/>
                        <a:t>15 min MTU </a:t>
                      </a:r>
                      <a:r>
                        <a:rPr lang="pt-PT" sz="800" dirty="0" err="1"/>
                        <a:t>go</a:t>
                      </a:r>
                      <a:r>
                        <a:rPr lang="pt-PT" sz="800" dirty="0"/>
                        <a:t>-live FR </a:t>
                      </a:r>
                      <a:r>
                        <a:rPr lang="pt-PT" sz="800" dirty="0" err="1"/>
                        <a:t>borders</a:t>
                      </a:r>
                      <a:r>
                        <a:rPr lang="pt-PT" sz="800" dirty="0"/>
                        <a:t> – </a:t>
                      </a:r>
                      <a:r>
                        <a:rPr lang="pt-PT" sz="800" dirty="0" err="1"/>
                        <a:t>rejected</a:t>
                      </a:r>
                      <a:r>
                        <a:rPr lang="pt-PT" sz="800" dirty="0"/>
                        <a:t> </a:t>
                      </a:r>
                      <a:r>
                        <a:rPr lang="pt-PT" sz="800" dirty="0" err="1"/>
                        <a:t>AACs</a:t>
                      </a:r>
                      <a:endParaRPr lang="LID4096" sz="800" dirty="0" err="1"/>
                    </a:p>
                  </a:txBody>
                  <a:tcPr/>
                </a:tc>
                <a:tc>
                  <a:txBody>
                    <a:bodyPr/>
                    <a:lstStyle/>
                    <a:p>
                      <a:r>
                        <a:rPr lang="pt-PT" sz="800" dirty="0"/>
                        <a:t>Process failure</a:t>
                      </a:r>
                      <a:endParaRPr lang="LID4096" sz="800" dirty="0"/>
                    </a:p>
                  </a:txBody>
                  <a:tcPr/>
                </a:tc>
                <a:extLst>
                  <a:ext uri="{0D108BD9-81ED-4DB2-BD59-A6C34878D82A}">
                    <a16:rowId xmlns:a16="http://schemas.microsoft.com/office/drawing/2014/main" val="3667276846"/>
                  </a:ext>
                </a:extLst>
              </a:tr>
              <a:tr h="140098">
                <a:tc>
                  <a:txBody>
                    <a:bodyPr/>
                    <a:lstStyle/>
                    <a:p>
                      <a:pPr marL="0" marR="0" lvl="0" indent="0" algn="l" defTabSz="440284" rtl="0" eaLnBrk="1" fontAlgn="auto" latinLnBrk="0" hangingPunct="1">
                        <a:lnSpc>
                          <a:spcPct val="100000"/>
                        </a:lnSpc>
                        <a:spcBef>
                          <a:spcPts val="0"/>
                        </a:spcBef>
                        <a:spcAft>
                          <a:spcPts val="0"/>
                        </a:spcAft>
                        <a:buClrTx/>
                        <a:buSzTx/>
                        <a:buFontTx/>
                        <a:buNone/>
                        <a:tabLst/>
                        <a:defRPr/>
                      </a:pPr>
                      <a:r>
                        <a:rPr lang="pt-PT" sz="800" dirty="0"/>
                        <a:t>04/02/2025</a:t>
                      </a:r>
                      <a:endParaRPr lang="LID4096" sz="800" dirty="0"/>
                    </a:p>
                  </a:txBody>
                  <a:tcPr/>
                </a:tc>
                <a:tc>
                  <a:txBody>
                    <a:bodyPr/>
                    <a:lstStyle/>
                    <a:p>
                      <a:pPr marL="0" marR="0" lvl="0" indent="0" algn="l" defTabSz="440284" rtl="0" eaLnBrk="1" fontAlgn="auto" latinLnBrk="0" hangingPunct="1">
                        <a:lnSpc>
                          <a:spcPct val="100000"/>
                        </a:lnSpc>
                        <a:spcBef>
                          <a:spcPts val="0"/>
                        </a:spcBef>
                        <a:spcAft>
                          <a:spcPts val="0"/>
                        </a:spcAft>
                        <a:buClrTx/>
                        <a:buSzTx/>
                        <a:buFontTx/>
                        <a:buNone/>
                        <a:tabLst/>
                        <a:defRPr/>
                      </a:pPr>
                      <a:r>
                        <a:rPr lang="pt-PT" sz="800" dirty="0">
                          <a:solidFill>
                            <a:srgbClr val="0100FE"/>
                          </a:solidFill>
                        </a:rPr>
                        <a:t>Merging package delivery failed</a:t>
                      </a:r>
                      <a:endParaRPr lang="LID4096" sz="800" dirty="0">
                        <a:solidFill>
                          <a:srgbClr val="0100FE"/>
                        </a:solidFill>
                      </a:endParaRPr>
                    </a:p>
                  </a:txBody>
                  <a:tcPr/>
                </a:tc>
                <a:tc rowSpan="2">
                  <a:txBody>
                    <a:bodyPr/>
                    <a:lstStyle/>
                    <a:p>
                      <a:r>
                        <a:rPr lang="pt-PT" sz="800" dirty="0"/>
                        <a:t>DA Domain AAC Fallback</a:t>
                      </a:r>
                    </a:p>
                  </a:txBody>
                  <a:tcPr/>
                </a:tc>
                <a:extLst>
                  <a:ext uri="{0D108BD9-81ED-4DB2-BD59-A6C34878D82A}">
                    <a16:rowId xmlns:a16="http://schemas.microsoft.com/office/drawing/2014/main" val="2797348065"/>
                  </a:ext>
                </a:extLst>
              </a:tr>
              <a:tr h="140098">
                <a:tc>
                  <a:txBody>
                    <a:bodyPr/>
                    <a:lstStyle/>
                    <a:p>
                      <a:pPr marL="0" marR="0" lvl="0" indent="0" algn="l" defTabSz="440284" rtl="0" eaLnBrk="1" fontAlgn="auto" latinLnBrk="0" hangingPunct="1">
                        <a:lnSpc>
                          <a:spcPct val="100000"/>
                        </a:lnSpc>
                        <a:spcBef>
                          <a:spcPts val="0"/>
                        </a:spcBef>
                        <a:spcAft>
                          <a:spcPts val="0"/>
                        </a:spcAft>
                        <a:buClrTx/>
                        <a:buSzTx/>
                        <a:buFontTx/>
                        <a:buNone/>
                        <a:tabLst/>
                        <a:defRPr/>
                      </a:pPr>
                      <a:r>
                        <a:rPr lang="pt-PT" sz="800" dirty="0"/>
                        <a:t>07/03/2025</a:t>
                      </a:r>
                      <a:endParaRPr lang="LID4096" sz="800" dirty="0"/>
                    </a:p>
                  </a:txBody>
                  <a:tcPr/>
                </a:tc>
                <a:tc>
                  <a:txBody>
                    <a:bodyPr/>
                    <a:lstStyle/>
                    <a:p>
                      <a:r>
                        <a:rPr lang="pt-PT" sz="800" dirty="0"/>
                        <a:t>Viking link </a:t>
                      </a:r>
                      <a:r>
                        <a:rPr lang="pt-PT" sz="800" dirty="0" err="1"/>
                        <a:t>configuration</a:t>
                      </a:r>
                      <a:r>
                        <a:rPr lang="pt-PT" sz="800" dirty="0"/>
                        <a:t> </a:t>
                      </a:r>
                      <a:r>
                        <a:rPr lang="pt-PT" sz="800" dirty="0" err="1"/>
                        <a:t>missing</a:t>
                      </a:r>
                      <a:r>
                        <a:rPr lang="pt-PT" sz="800" dirty="0"/>
                        <a:t> in </a:t>
                      </a:r>
                      <a:r>
                        <a:rPr lang="pt-PT" sz="800" dirty="0" err="1"/>
                        <a:t>new</a:t>
                      </a:r>
                      <a:r>
                        <a:rPr lang="pt-PT" sz="800" dirty="0"/>
                        <a:t> </a:t>
                      </a:r>
                      <a:r>
                        <a:rPr lang="pt-PT" sz="800" dirty="0" err="1"/>
                        <a:t>tool</a:t>
                      </a:r>
                      <a:r>
                        <a:rPr lang="pt-PT" sz="800" dirty="0"/>
                        <a:t> </a:t>
                      </a:r>
                      <a:r>
                        <a:rPr lang="pt-PT" sz="800" dirty="0" err="1"/>
                        <a:t>version</a:t>
                      </a:r>
                      <a:endParaRPr lang="LID4096" sz="800"/>
                    </a:p>
                  </a:txBody>
                  <a:tcPr/>
                </a:tc>
                <a:tc vMerge="1">
                  <a:txBody>
                    <a:bodyPr/>
                    <a:lstStyle/>
                    <a:p>
                      <a:endParaRPr dirty="0"/>
                    </a:p>
                  </a:txBody>
                  <a:tcPr/>
                </a:tc>
                <a:extLst>
                  <a:ext uri="{0D108BD9-81ED-4DB2-BD59-A6C34878D82A}">
                    <a16:rowId xmlns:a16="http://schemas.microsoft.com/office/drawing/2014/main" val="3654903556"/>
                  </a:ext>
                </a:extLst>
              </a:tr>
            </a:tbl>
          </a:graphicData>
        </a:graphic>
      </p:graphicFrame>
      <p:graphicFrame>
        <p:nvGraphicFramePr>
          <p:cNvPr id="8" name="Table 7">
            <a:extLst>
              <a:ext uri="{FF2B5EF4-FFF2-40B4-BE49-F238E27FC236}">
                <a16:creationId xmlns:a16="http://schemas.microsoft.com/office/drawing/2014/main" id="{2FBF1E24-FB42-0C60-03B5-ED87B4B45A9B}"/>
              </a:ext>
            </a:extLst>
          </p:cNvPr>
          <p:cNvGraphicFramePr>
            <a:graphicFrameLocks noGrp="1"/>
          </p:cNvGraphicFramePr>
          <p:nvPr>
            <p:extLst>
              <p:ext uri="{D42A27DB-BD31-4B8C-83A1-F6EECF244321}">
                <p14:modId xmlns:p14="http://schemas.microsoft.com/office/powerpoint/2010/main" val="3746589618"/>
              </p:ext>
            </p:extLst>
          </p:nvPr>
        </p:nvGraphicFramePr>
        <p:xfrm>
          <a:off x="5358002" y="2918586"/>
          <a:ext cx="3961486" cy="1676400"/>
        </p:xfrm>
        <a:graphic>
          <a:graphicData uri="http://schemas.openxmlformats.org/drawingml/2006/table">
            <a:tbl>
              <a:tblPr firstRow="1" bandRow="1">
                <a:tableStyleId>{8A107856-5554-42FB-B03E-39F5DBC370BA}</a:tableStyleId>
              </a:tblPr>
              <a:tblGrid>
                <a:gridCol w="710286">
                  <a:extLst>
                    <a:ext uri="{9D8B030D-6E8A-4147-A177-3AD203B41FA5}">
                      <a16:colId xmlns:a16="http://schemas.microsoft.com/office/drawing/2014/main" val="3443709706"/>
                    </a:ext>
                  </a:extLst>
                </a:gridCol>
                <a:gridCol w="2170546">
                  <a:extLst>
                    <a:ext uri="{9D8B030D-6E8A-4147-A177-3AD203B41FA5}">
                      <a16:colId xmlns:a16="http://schemas.microsoft.com/office/drawing/2014/main" val="4070834036"/>
                    </a:ext>
                  </a:extLst>
                </a:gridCol>
                <a:gridCol w="1080654">
                  <a:extLst>
                    <a:ext uri="{9D8B030D-6E8A-4147-A177-3AD203B41FA5}">
                      <a16:colId xmlns:a16="http://schemas.microsoft.com/office/drawing/2014/main" val="3815034775"/>
                    </a:ext>
                  </a:extLst>
                </a:gridCol>
              </a:tblGrid>
              <a:tr h="302303">
                <a:tc>
                  <a:txBody>
                    <a:bodyPr/>
                    <a:lstStyle/>
                    <a:p>
                      <a:r>
                        <a:rPr lang="pt-PT" sz="900" dirty="0">
                          <a:solidFill>
                            <a:schemeClr val="bg1"/>
                          </a:solidFill>
                        </a:rPr>
                        <a:t>BD</a:t>
                      </a:r>
                      <a:endParaRPr lang="LID4096" sz="900" dirty="0">
                        <a:solidFill>
                          <a:schemeClr val="bg1"/>
                        </a:solidFill>
                      </a:endParaRPr>
                    </a:p>
                  </a:txBody>
                  <a:tcPr>
                    <a:solidFill>
                      <a:schemeClr val="accent2"/>
                    </a:solidFill>
                  </a:tcPr>
                </a:tc>
                <a:tc>
                  <a:txBody>
                    <a:bodyPr/>
                    <a:lstStyle/>
                    <a:p>
                      <a:r>
                        <a:rPr lang="pt-PT" sz="900" dirty="0">
                          <a:solidFill>
                            <a:schemeClr val="bg1"/>
                          </a:solidFill>
                        </a:rPr>
                        <a:t>Reason</a:t>
                      </a:r>
                      <a:endParaRPr lang="LID4096" sz="900" dirty="0">
                        <a:solidFill>
                          <a:schemeClr val="bg1"/>
                        </a:solidFill>
                      </a:endParaRPr>
                    </a:p>
                  </a:txBody>
                  <a:tcPr>
                    <a:solidFill>
                      <a:schemeClr val="accent2"/>
                    </a:solidFill>
                  </a:tcPr>
                </a:tc>
                <a:tc>
                  <a:txBody>
                    <a:bodyPr/>
                    <a:lstStyle/>
                    <a:p>
                      <a:r>
                        <a:rPr lang="pt-PT" sz="900" dirty="0" err="1">
                          <a:solidFill>
                            <a:schemeClr val="bg1"/>
                          </a:solidFill>
                        </a:rPr>
                        <a:t>Fallback</a:t>
                      </a:r>
                      <a:r>
                        <a:rPr lang="pt-PT" sz="900" dirty="0">
                          <a:solidFill>
                            <a:schemeClr val="bg1"/>
                          </a:solidFill>
                        </a:rPr>
                        <a:t>/</a:t>
                      </a:r>
                    </a:p>
                    <a:p>
                      <a:r>
                        <a:rPr lang="pt-PT" sz="900" dirty="0" err="1">
                          <a:solidFill>
                            <a:schemeClr val="bg1"/>
                          </a:solidFill>
                        </a:rPr>
                        <a:t>Process</a:t>
                      </a:r>
                      <a:r>
                        <a:rPr lang="pt-PT" sz="900" dirty="0">
                          <a:solidFill>
                            <a:schemeClr val="bg1"/>
                          </a:solidFill>
                        </a:rPr>
                        <a:t> </a:t>
                      </a:r>
                      <a:r>
                        <a:rPr lang="pt-PT" sz="900" dirty="0" err="1">
                          <a:solidFill>
                            <a:schemeClr val="bg1"/>
                          </a:solidFill>
                        </a:rPr>
                        <a:t>failure</a:t>
                      </a:r>
                      <a:endParaRPr lang="LID4096" sz="900" dirty="0" err="1">
                        <a:solidFill>
                          <a:schemeClr val="bg1"/>
                        </a:solidFill>
                      </a:endParaRPr>
                    </a:p>
                  </a:txBody>
                  <a:tcPr>
                    <a:solidFill>
                      <a:schemeClr val="accent2"/>
                    </a:solidFill>
                  </a:tcPr>
                </a:tc>
                <a:extLst>
                  <a:ext uri="{0D108BD9-81ED-4DB2-BD59-A6C34878D82A}">
                    <a16:rowId xmlns:a16="http://schemas.microsoft.com/office/drawing/2014/main" val="484507271"/>
                  </a:ext>
                </a:extLst>
              </a:tr>
              <a:tr h="277111">
                <a:tc>
                  <a:txBody>
                    <a:bodyPr/>
                    <a:lstStyle/>
                    <a:p>
                      <a:pPr marL="0" marR="0" lvl="0" indent="0" algn="l" defTabSz="440284" rtl="0" eaLnBrk="1" fontAlgn="auto" latinLnBrk="0" hangingPunct="1">
                        <a:lnSpc>
                          <a:spcPct val="100000"/>
                        </a:lnSpc>
                        <a:spcBef>
                          <a:spcPts val="0"/>
                        </a:spcBef>
                        <a:spcAft>
                          <a:spcPts val="0"/>
                        </a:spcAft>
                        <a:buClrTx/>
                        <a:buSzTx/>
                        <a:buFontTx/>
                        <a:buNone/>
                        <a:tabLst/>
                        <a:defRPr/>
                      </a:pPr>
                      <a:r>
                        <a:rPr lang="pt-PT" sz="800" dirty="0"/>
                        <a:t>14/03/2025</a:t>
                      </a:r>
                      <a:endParaRPr lang="LID4096" sz="800" dirty="0"/>
                    </a:p>
                  </a:txBody>
                  <a:tcPr/>
                </a:tc>
                <a:tc>
                  <a:txBody>
                    <a:bodyPr/>
                    <a:lstStyle/>
                    <a:p>
                      <a:r>
                        <a:rPr lang="pt-PT" sz="800" dirty="0"/>
                        <a:t>XBID </a:t>
                      </a:r>
                      <a:r>
                        <a:rPr lang="pt-PT" sz="800" dirty="0" err="1"/>
                        <a:t>integration</a:t>
                      </a:r>
                      <a:r>
                        <a:rPr lang="pt-PT" sz="800" dirty="0"/>
                        <a:t> </a:t>
                      </a:r>
                      <a:r>
                        <a:rPr lang="pt-PT" sz="800" dirty="0" err="1"/>
                        <a:t>testing</a:t>
                      </a:r>
                      <a:r>
                        <a:rPr lang="pt-PT" sz="800" dirty="0"/>
                        <a:t> – </a:t>
                      </a:r>
                      <a:r>
                        <a:rPr lang="pt-PT" sz="800" dirty="0" err="1"/>
                        <a:t>rejected</a:t>
                      </a:r>
                      <a:r>
                        <a:rPr lang="pt-PT" sz="800" dirty="0"/>
                        <a:t> </a:t>
                      </a:r>
                      <a:r>
                        <a:rPr lang="pt-PT" sz="800" dirty="0" err="1"/>
                        <a:t>merging</a:t>
                      </a:r>
                      <a:r>
                        <a:rPr lang="pt-PT" sz="800" dirty="0"/>
                        <a:t> package but delivered timely</a:t>
                      </a:r>
                      <a:endParaRPr lang="LID4096" sz="800" dirty="0"/>
                    </a:p>
                  </a:txBody>
                  <a:tcPr/>
                </a:tc>
                <a:tc>
                  <a:txBody>
                    <a:bodyPr/>
                    <a:lstStyle/>
                    <a:p>
                      <a:r>
                        <a:rPr lang="pt-PT" sz="800" dirty="0"/>
                        <a:t>DA </a:t>
                      </a:r>
                      <a:r>
                        <a:rPr lang="pt-PT" sz="800" dirty="0" err="1"/>
                        <a:t>Domain</a:t>
                      </a:r>
                      <a:r>
                        <a:rPr lang="pt-PT" sz="800" dirty="0"/>
                        <a:t> AAC </a:t>
                      </a:r>
                      <a:r>
                        <a:rPr lang="pt-PT" sz="800" dirty="0" err="1"/>
                        <a:t>Fallback</a:t>
                      </a:r>
                      <a:endParaRPr lang="LID4096" sz="800" dirty="0" err="1"/>
                    </a:p>
                  </a:txBody>
                  <a:tcPr/>
                </a:tc>
                <a:extLst>
                  <a:ext uri="{0D108BD9-81ED-4DB2-BD59-A6C34878D82A}">
                    <a16:rowId xmlns:a16="http://schemas.microsoft.com/office/drawing/2014/main" val="2363907790"/>
                  </a:ext>
                </a:extLst>
              </a:tr>
              <a:tr h="176343">
                <a:tc>
                  <a:txBody>
                    <a:bodyPr/>
                    <a:lstStyle/>
                    <a:p>
                      <a:pPr marL="0" marR="0" lvl="0" indent="0" algn="l" defTabSz="440284" rtl="0" eaLnBrk="1" fontAlgn="auto" latinLnBrk="0" hangingPunct="1">
                        <a:lnSpc>
                          <a:spcPct val="100000"/>
                        </a:lnSpc>
                        <a:spcBef>
                          <a:spcPts val="0"/>
                        </a:spcBef>
                        <a:spcAft>
                          <a:spcPts val="0"/>
                        </a:spcAft>
                        <a:buClrTx/>
                        <a:buSzTx/>
                        <a:buFontTx/>
                        <a:buNone/>
                        <a:tabLst/>
                        <a:defRPr/>
                      </a:pPr>
                      <a:r>
                        <a:rPr lang="pt-PT" sz="800" dirty="0"/>
                        <a:t>19/03/2025</a:t>
                      </a:r>
                      <a:endParaRPr lang="LID4096" sz="800" dirty="0"/>
                    </a:p>
                  </a:txBody>
                  <a:tcPr/>
                </a:tc>
                <a:tc>
                  <a:txBody>
                    <a:bodyPr/>
                    <a:lstStyle/>
                    <a:p>
                      <a:r>
                        <a:rPr lang="pt-PT" sz="800" dirty="0"/>
                        <a:t>AAC incorrect time resolution</a:t>
                      </a:r>
                      <a:endParaRPr lang="LID4096" sz="800" dirty="0"/>
                    </a:p>
                  </a:txBody>
                  <a:tcPr/>
                </a:tc>
                <a:tc>
                  <a:txBody>
                    <a:bodyPr/>
                    <a:lstStyle/>
                    <a:p>
                      <a:r>
                        <a:rPr lang="pt-PT" sz="800" dirty="0"/>
                        <a:t>N/A</a:t>
                      </a:r>
                      <a:endParaRPr lang="LID4096" sz="800" dirty="0"/>
                    </a:p>
                  </a:txBody>
                  <a:tcPr/>
                </a:tc>
                <a:extLst>
                  <a:ext uri="{0D108BD9-81ED-4DB2-BD59-A6C34878D82A}">
                    <a16:rowId xmlns:a16="http://schemas.microsoft.com/office/drawing/2014/main" val="3342969787"/>
                  </a:ext>
                </a:extLst>
              </a:tr>
              <a:tr h="176343">
                <a:tc>
                  <a:txBody>
                    <a:bodyPr/>
                    <a:lstStyle/>
                    <a:p>
                      <a:pPr marL="0" marR="0" lvl="0" indent="0" algn="l" defTabSz="440284" rtl="0" eaLnBrk="1" fontAlgn="auto" latinLnBrk="0" hangingPunct="1">
                        <a:lnSpc>
                          <a:spcPct val="100000"/>
                        </a:lnSpc>
                        <a:spcBef>
                          <a:spcPts val="0"/>
                        </a:spcBef>
                        <a:spcAft>
                          <a:spcPts val="0"/>
                        </a:spcAft>
                        <a:buClrTx/>
                        <a:buSzTx/>
                        <a:buFontTx/>
                        <a:buNone/>
                        <a:tabLst/>
                        <a:defRPr/>
                      </a:pPr>
                      <a:r>
                        <a:rPr lang="pt-PT" sz="800" dirty="0"/>
                        <a:t>22/03/2025</a:t>
                      </a:r>
                      <a:endParaRPr lang="LID4096" sz="800" dirty="0"/>
                    </a:p>
                  </a:txBody>
                  <a:tcPr/>
                </a:tc>
                <a:tc>
                  <a:txBody>
                    <a:bodyPr/>
                    <a:lstStyle/>
                    <a:p>
                      <a:r>
                        <a:rPr lang="pt-PT" sz="800" dirty="0"/>
                        <a:t>Failure to receive AAC timely</a:t>
                      </a:r>
                      <a:endParaRPr lang="LID4096" sz="800" dirty="0"/>
                    </a:p>
                  </a:txBody>
                  <a:tcPr/>
                </a:tc>
                <a:tc>
                  <a:txBody>
                    <a:bodyPr/>
                    <a:lstStyle/>
                    <a:p>
                      <a:r>
                        <a:rPr lang="pt-PT" sz="800" dirty="0"/>
                        <a:t>Process failure</a:t>
                      </a:r>
                      <a:endParaRPr lang="LID4096" sz="800" dirty="0"/>
                    </a:p>
                  </a:txBody>
                  <a:tcPr/>
                </a:tc>
                <a:extLst>
                  <a:ext uri="{0D108BD9-81ED-4DB2-BD59-A6C34878D82A}">
                    <a16:rowId xmlns:a16="http://schemas.microsoft.com/office/drawing/2014/main" val="4198060521"/>
                  </a:ext>
                </a:extLst>
              </a:tr>
              <a:tr h="277111">
                <a:tc>
                  <a:txBody>
                    <a:bodyPr/>
                    <a:lstStyle/>
                    <a:p>
                      <a:pPr marL="0" marR="0" lvl="0" indent="0" algn="l" defTabSz="440284" rtl="0" eaLnBrk="1" fontAlgn="auto" latinLnBrk="0" hangingPunct="1">
                        <a:lnSpc>
                          <a:spcPct val="100000"/>
                        </a:lnSpc>
                        <a:spcBef>
                          <a:spcPts val="0"/>
                        </a:spcBef>
                        <a:spcAft>
                          <a:spcPts val="0"/>
                        </a:spcAft>
                        <a:buClrTx/>
                        <a:buSzTx/>
                        <a:buFontTx/>
                        <a:buNone/>
                        <a:tabLst/>
                        <a:defRPr/>
                      </a:pPr>
                      <a:r>
                        <a:rPr lang="pt-PT" sz="800" dirty="0"/>
                        <a:t>28/03/2025</a:t>
                      </a:r>
                      <a:endParaRPr lang="LID4096" sz="800" dirty="0"/>
                    </a:p>
                  </a:txBody>
                  <a:tcPr/>
                </a:tc>
                <a:tc gridSpan="2">
                  <a:txBody>
                    <a:bodyPr/>
                    <a:lstStyle/>
                    <a:p>
                      <a:r>
                        <a:rPr lang="pt-PT" sz="800" b="1" dirty="0"/>
                        <a:t>Excluded for the KPIs 2A, 3A and 4A because IDCC(b) process failure – No comparison possible</a:t>
                      </a:r>
                      <a:endParaRPr lang="LID4096" sz="800" b="1" dirty="0"/>
                    </a:p>
                  </a:txBody>
                  <a:tcPr/>
                </a:tc>
                <a:tc hMerge="1">
                  <a:txBody>
                    <a:bodyPr/>
                    <a:lstStyle/>
                    <a:p>
                      <a:endParaRPr lang="LID4096"/>
                    </a:p>
                  </a:txBody>
                  <a:tcPr/>
                </a:tc>
                <a:extLst>
                  <a:ext uri="{0D108BD9-81ED-4DB2-BD59-A6C34878D82A}">
                    <a16:rowId xmlns:a16="http://schemas.microsoft.com/office/drawing/2014/main" val="3667276846"/>
                  </a:ext>
                </a:extLst>
              </a:tr>
              <a:tr h="176343">
                <a:tc>
                  <a:txBody>
                    <a:bodyPr/>
                    <a:lstStyle/>
                    <a:p>
                      <a:pPr marL="0" marR="0" lvl="0" indent="0" algn="l" defTabSz="440284" rtl="0" eaLnBrk="1" fontAlgn="auto" latinLnBrk="0" hangingPunct="1">
                        <a:lnSpc>
                          <a:spcPct val="100000"/>
                        </a:lnSpc>
                        <a:spcBef>
                          <a:spcPts val="0"/>
                        </a:spcBef>
                        <a:spcAft>
                          <a:spcPts val="0"/>
                        </a:spcAft>
                        <a:buClrTx/>
                        <a:buSzTx/>
                        <a:buFontTx/>
                        <a:buNone/>
                        <a:tabLst/>
                        <a:defRPr/>
                      </a:pPr>
                      <a:r>
                        <a:rPr lang="pt-PT" sz="800" dirty="0"/>
                        <a:t>30/03/2025</a:t>
                      </a:r>
                      <a:endParaRPr lang="LID4096" sz="800" dirty="0"/>
                    </a:p>
                  </a:txBody>
                  <a:tcPr/>
                </a:tc>
                <a:tc>
                  <a:txBody>
                    <a:bodyPr/>
                    <a:lstStyle/>
                    <a:p>
                      <a:r>
                        <a:rPr lang="pt-PT" sz="800" dirty="0"/>
                        <a:t>Hour change - Clock change issue</a:t>
                      </a:r>
                      <a:endParaRPr lang="LID4096" sz="800" dirty="0"/>
                    </a:p>
                  </a:txBody>
                  <a:tcPr/>
                </a:tc>
                <a:tc>
                  <a:txBody>
                    <a:bodyPr/>
                    <a:lstStyle/>
                    <a:p>
                      <a:r>
                        <a:rPr lang="pt-PT" sz="800" dirty="0"/>
                        <a:t>N/A</a:t>
                      </a:r>
                      <a:endParaRPr lang="LID4096" sz="800" dirty="0"/>
                    </a:p>
                  </a:txBody>
                  <a:tcPr/>
                </a:tc>
                <a:extLst>
                  <a:ext uri="{0D108BD9-81ED-4DB2-BD59-A6C34878D82A}">
                    <a16:rowId xmlns:a16="http://schemas.microsoft.com/office/drawing/2014/main" val="2797348065"/>
                  </a:ext>
                </a:extLst>
              </a:tr>
            </a:tbl>
          </a:graphicData>
        </a:graphic>
      </p:graphicFrame>
      <p:sp>
        <p:nvSpPr>
          <p:cNvPr id="9" name="Slide Number Placeholder 8">
            <a:extLst>
              <a:ext uri="{FF2B5EF4-FFF2-40B4-BE49-F238E27FC236}">
                <a16:creationId xmlns:a16="http://schemas.microsoft.com/office/drawing/2014/main" id="{E05CE7FE-89F6-7D91-DE74-A60CE87F969B}"/>
              </a:ext>
            </a:extLst>
          </p:cNvPr>
          <p:cNvSpPr>
            <a:spLocks noGrp="1"/>
          </p:cNvSpPr>
          <p:nvPr>
            <p:ph type="sldNum" sz="quarter" idx="4"/>
          </p:nvPr>
        </p:nvSpPr>
        <p:spPr/>
        <p:txBody>
          <a:bodyPr/>
          <a:lstStyle/>
          <a:p>
            <a:fld id="{F551322C-20B2-48C3-B63D-68158FEBF630}" type="slidenum">
              <a:rPr lang="en-US" smtClean="0"/>
              <a:pPr/>
              <a:t>2</a:t>
            </a:fld>
            <a:endParaRPr lang="en-GB"/>
          </a:p>
        </p:txBody>
      </p:sp>
    </p:spTree>
    <p:extLst>
      <p:ext uri="{BB962C8B-B14F-4D97-AF65-F5344CB8AC3E}">
        <p14:creationId xmlns:p14="http://schemas.microsoft.com/office/powerpoint/2010/main" val="1934731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t>KPI</a:t>
            </a:r>
            <a:r>
              <a:rPr lang="sk-SK" dirty="0"/>
              <a:t> 6</a:t>
            </a:r>
            <a:r>
              <a:rPr lang="pt-PT" dirty="0"/>
              <a:t>C - </a:t>
            </a:r>
            <a:r>
              <a:rPr lang="en-US" sz="1600" dirty="0"/>
              <a:t>Limiting constraints of the ATC domain​</a:t>
            </a:r>
            <a:endParaRPr lang="hu-HU" dirty="0"/>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ATC limiting constraints per TSO – </a:t>
            </a:r>
            <a:r>
              <a:rPr lang="en-US" dirty="0" err="1"/>
              <a:t>Amprion</a:t>
            </a:r>
            <a:r>
              <a:rPr lang="en-US" sz="1400" dirty="0"/>
              <a:t> </a:t>
            </a:r>
          </a:p>
          <a:p>
            <a:endParaRPr lang="en-US" sz="1400" dirty="0"/>
          </a:p>
          <a:p>
            <a:endParaRPr lang="en-US" dirty="0"/>
          </a:p>
          <a:p>
            <a:endParaRPr lang="hu-HU" dirty="0"/>
          </a:p>
        </p:txBody>
      </p:sp>
      <p:sp>
        <p:nvSpPr>
          <p:cNvPr id="4" name="Slide Number Placeholder 3">
            <a:extLst>
              <a:ext uri="{FF2B5EF4-FFF2-40B4-BE49-F238E27FC236}">
                <a16:creationId xmlns:a16="http://schemas.microsoft.com/office/drawing/2014/main" id="{CD5DA8B6-F816-28F2-47AC-68776141D287}"/>
              </a:ext>
            </a:extLst>
          </p:cNvPr>
          <p:cNvSpPr>
            <a:spLocks noGrp="1"/>
          </p:cNvSpPr>
          <p:nvPr>
            <p:ph type="sldNum" sz="quarter" idx="4"/>
          </p:nvPr>
        </p:nvSpPr>
        <p:spPr/>
        <p:txBody>
          <a:bodyPr/>
          <a:lstStyle/>
          <a:p>
            <a:fld id="{F551322C-20B2-48C3-B63D-68158FEBF630}" type="slidenum">
              <a:rPr lang="en-US" smtClean="0"/>
              <a:pPr/>
              <a:t>20</a:t>
            </a:fld>
            <a:endParaRPr lang="en-GB"/>
          </a:p>
        </p:txBody>
      </p:sp>
      <p:pic>
        <p:nvPicPr>
          <p:cNvPr id="5" name="Kép 4">
            <a:extLst>
              <a:ext uri="{FF2B5EF4-FFF2-40B4-BE49-F238E27FC236}">
                <a16:creationId xmlns:a16="http://schemas.microsoft.com/office/drawing/2014/main" id="{432FE955-1C70-EDAB-B5EF-D5F4110B4F13}"/>
              </a:ext>
            </a:extLst>
          </p:cNvPr>
          <p:cNvPicPr>
            <a:picLocks noChangeAspect="1"/>
          </p:cNvPicPr>
          <p:nvPr/>
        </p:nvPicPr>
        <p:blipFill>
          <a:blip r:embed="rId4"/>
          <a:stretch>
            <a:fillRect/>
          </a:stretch>
        </p:blipFill>
        <p:spPr>
          <a:xfrm>
            <a:off x="529166" y="1038467"/>
            <a:ext cx="8847667" cy="4781065"/>
          </a:xfrm>
          <a:prstGeom prst="rect">
            <a:avLst/>
          </a:prstGeom>
        </p:spPr>
      </p:pic>
    </p:spTree>
    <p:extLst>
      <p:ext uri="{BB962C8B-B14F-4D97-AF65-F5344CB8AC3E}">
        <p14:creationId xmlns:p14="http://schemas.microsoft.com/office/powerpoint/2010/main" val="3244676048"/>
      </p:ext>
    </p:extLst>
  </p:cSld>
  <p:clrMapOvr>
    <a:overrideClrMapping bg1="lt1" tx1="dk1" bg2="lt2" tx2="dk2" accent1="accent1" accent2="accent2" accent3="accent3" accent4="accent4" accent5="accent5" accent6="accent6" hlink="hlink" folHlink="folHlink"/>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t>KPI</a:t>
            </a:r>
            <a:r>
              <a:rPr lang="sk-SK" dirty="0"/>
              <a:t> 6</a:t>
            </a:r>
            <a:r>
              <a:rPr lang="pt-PT" dirty="0"/>
              <a:t>C - </a:t>
            </a:r>
            <a:r>
              <a:rPr lang="en-US" sz="1600" dirty="0"/>
              <a:t>Limiting constraints of the ATC domain​</a:t>
            </a:r>
            <a:endParaRPr lang="hu-HU" dirty="0"/>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ATC limiting constraints per TSO – 50Hertz </a:t>
            </a:r>
          </a:p>
          <a:p>
            <a:endParaRPr lang="en-US" sz="1400" dirty="0"/>
          </a:p>
          <a:p>
            <a:endParaRPr lang="en-US" dirty="0"/>
          </a:p>
          <a:p>
            <a:endParaRPr lang="hu-HU" dirty="0"/>
          </a:p>
        </p:txBody>
      </p:sp>
      <p:sp>
        <p:nvSpPr>
          <p:cNvPr id="4" name="Slide Number Placeholder 3">
            <a:extLst>
              <a:ext uri="{FF2B5EF4-FFF2-40B4-BE49-F238E27FC236}">
                <a16:creationId xmlns:a16="http://schemas.microsoft.com/office/drawing/2014/main" id="{4706EE00-3476-C04C-2B49-404F9DBACED9}"/>
              </a:ext>
            </a:extLst>
          </p:cNvPr>
          <p:cNvSpPr>
            <a:spLocks noGrp="1"/>
          </p:cNvSpPr>
          <p:nvPr>
            <p:ph type="sldNum" sz="quarter" idx="4"/>
          </p:nvPr>
        </p:nvSpPr>
        <p:spPr/>
        <p:txBody>
          <a:bodyPr/>
          <a:lstStyle/>
          <a:p>
            <a:fld id="{F551322C-20B2-48C3-B63D-68158FEBF630}" type="slidenum">
              <a:rPr lang="en-US" smtClean="0"/>
              <a:pPr/>
              <a:t>21</a:t>
            </a:fld>
            <a:endParaRPr lang="en-GB"/>
          </a:p>
        </p:txBody>
      </p:sp>
      <p:pic>
        <p:nvPicPr>
          <p:cNvPr id="5" name="Tartalom helye 6">
            <a:extLst>
              <a:ext uri="{FF2B5EF4-FFF2-40B4-BE49-F238E27FC236}">
                <a16:creationId xmlns:a16="http://schemas.microsoft.com/office/drawing/2014/main" id="{A29087FA-28F0-904E-1035-5E2FD2DC184D}"/>
              </a:ext>
            </a:extLst>
          </p:cNvPr>
          <p:cNvPicPr>
            <a:picLocks noGrp="1" noChangeAspect="1"/>
          </p:cNvPicPr>
          <p:nvPr>
            <p:ph sz="quarter" idx="17"/>
          </p:nvPr>
        </p:nvPicPr>
        <p:blipFill>
          <a:blip r:embed="rId4"/>
          <a:stretch>
            <a:fillRect/>
          </a:stretch>
        </p:blipFill>
        <p:spPr>
          <a:xfrm>
            <a:off x="985492" y="1079500"/>
            <a:ext cx="8108053" cy="4321175"/>
          </a:xfrm>
          <a:prstGeom prst="rect">
            <a:avLst/>
          </a:prstGeom>
        </p:spPr>
      </p:pic>
    </p:spTree>
    <p:extLst>
      <p:ext uri="{BB962C8B-B14F-4D97-AF65-F5344CB8AC3E}">
        <p14:creationId xmlns:p14="http://schemas.microsoft.com/office/powerpoint/2010/main" val="3719822614"/>
      </p:ext>
    </p:extLst>
  </p:cSld>
  <p:clrMapOvr>
    <a:overrideClrMapping bg1="lt1" tx1="dk1" bg2="lt2" tx2="dk2" accent1="accent1" accent2="accent2" accent3="accent3" accent4="accent4" accent5="accent5" accent6="accent6" hlink="hlink" folHlink="folHlink"/>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t>KPI</a:t>
            </a:r>
            <a:r>
              <a:rPr lang="sk-SK" dirty="0"/>
              <a:t> 6</a:t>
            </a:r>
            <a:r>
              <a:rPr lang="pt-PT" dirty="0"/>
              <a:t>C - </a:t>
            </a:r>
            <a:r>
              <a:rPr lang="en-US" sz="1600" dirty="0"/>
              <a:t>Limiting constraints of the ATC domain​</a:t>
            </a:r>
            <a:endParaRPr lang="hu-HU" dirty="0"/>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ATC limiting constraints per TSO – RTE</a:t>
            </a:r>
          </a:p>
          <a:p>
            <a:endParaRPr lang="en-US" sz="1400" dirty="0"/>
          </a:p>
          <a:p>
            <a:endParaRPr lang="en-US" dirty="0"/>
          </a:p>
          <a:p>
            <a:endParaRPr lang="hu-HU" dirty="0"/>
          </a:p>
        </p:txBody>
      </p:sp>
      <p:sp>
        <p:nvSpPr>
          <p:cNvPr id="4" name="Slide Number Placeholder 3">
            <a:extLst>
              <a:ext uri="{FF2B5EF4-FFF2-40B4-BE49-F238E27FC236}">
                <a16:creationId xmlns:a16="http://schemas.microsoft.com/office/drawing/2014/main" id="{38688260-03A6-575F-A909-D0EC3E03CE41}"/>
              </a:ext>
            </a:extLst>
          </p:cNvPr>
          <p:cNvSpPr>
            <a:spLocks noGrp="1"/>
          </p:cNvSpPr>
          <p:nvPr>
            <p:ph type="sldNum" sz="quarter" idx="4"/>
          </p:nvPr>
        </p:nvSpPr>
        <p:spPr/>
        <p:txBody>
          <a:bodyPr/>
          <a:lstStyle/>
          <a:p>
            <a:fld id="{F551322C-20B2-48C3-B63D-68158FEBF630}" type="slidenum">
              <a:rPr lang="en-US" smtClean="0"/>
              <a:pPr/>
              <a:t>22</a:t>
            </a:fld>
            <a:endParaRPr lang="en-GB"/>
          </a:p>
        </p:txBody>
      </p:sp>
      <p:pic>
        <p:nvPicPr>
          <p:cNvPr id="5" name="Kép 4">
            <a:extLst>
              <a:ext uri="{FF2B5EF4-FFF2-40B4-BE49-F238E27FC236}">
                <a16:creationId xmlns:a16="http://schemas.microsoft.com/office/drawing/2014/main" id="{1E5AE2CE-0FE4-2C0D-C126-D0F9D632817B}"/>
              </a:ext>
            </a:extLst>
          </p:cNvPr>
          <p:cNvPicPr>
            <a:picLocks noChangeAspect="1"/>
          </p:cNvPicPr>
          <p:nvPr/>
        </p:nvPicPr>
        <p:blipFill>
          <a:blip r:embed="rId4"/>
          <a:stretch>
            <a:fillRect/>
          </a:stretch>
        </p:blipFill>
        <p:spPr>
          <a:xfrm>
            <a:off x="539999" y="866532"/>
            <a:ext cx="8817472" cy="5124935"/>
          </a:xfrm>
          <a:prstGeom prst="rect">
            <a:avLst/>
          </a:prstGeom>
        </p:spPr>
      </p:pic>
    </p:spTree>
    <p:extLst>
      <p:ext uri="{BB962C8B-B14F-4D97-AF65-F5344CB8AC3E}">
        <p14:creationId xmlns:p14="http://schemas.microsoft.com/office/powerpoint/2010/main" val="3853163940"/>
      </p:ext>
    </p:extLst>
  </p:cSld>
  <p:clrMapOvr>
    <a:overrideClrMapping bg1="lt1" tx1="dk1" bg2="lt2" tx2="dk2" accent1="accent1" accent2="accent2" accent3="accent3" accent4="accent4" accent5="accent5" accent6="accent6" hlink="hlink" folHlink="folHlink"/>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t>KPI</a:t>
            </a:r>
            <a:r>
              <a:rPr lang="sk-SK" dirty="0"/>
              <a:t> 6</a:t>
            </a:r>
            <a:r>
              <a:rPr lang="pt-PT" dirty="0"/>
              <a:t>C - </a:t>
            </a:r>
            <a:r>
              <a:rPr lang="en-US" sz="1600" dirty="0"/>
              <a:t>Limiting constraints of the ATC domain​</a:t>
            </a:r>
            <a:endParaRPr lang="hu-HU" dirty="0"/>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ATC limiting constraints per TSO – </a:t>
            </a:r>
            <a:r>
              <a:rPr lang="en-US" dirty="0"/>
              <a:t>HOPS</a:t>
            </a:r>
            <a:endParaRPr lang="en-US" sz="1400" dirty="0"/>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70553E55-2F35-5378-7E6E-5A70BB26D260}"/>
              </a:ext>
            </a:extLst>
          </p:cNvPr>
          <p:cNvSpPr>
            <a:spLocks noGrp="1"/>
          </p:cNvSpPr>
          <p:nvPr>
            <p:ph type="sldNum" sz="quarter" idx="4"/>
          </p:nvPr>
        </p:nvSpPr>
        <p:spPr/>
        <p:txBody>
          <a:bodyPr/>
          <a:lstStyle/>
          <a:p>
            <a:fld id="{F551322C-20B2-48C3-B63D-68158FEBF630}" type="slidenum">
              <a:rPr lang="en-US" smtClean="0"/>
              <a:pPr/>
              <a:t>23</a:t>
            </a:fld>
            <a:endParaRPr lang="en-GB"/>
          </a:p>
        </p:txBody>
      </p:sp>
      <p:pic>
        <p:nvPicPr>
          <p:cNvPr id="4" name="Tartalom helye 6">
            <a:extLst>
              <a:ext uri="{FF2B5EF4-FFF2-40B4-BE49-F238E27FC236}">
                <a16:creationId xmlns:a16="http://schemas.microsoft.com/office/drawing/2014/main" id="{FFA875DF-2B4B-36F8-30C0-895358B893EC}"/>
              </a:ext>
            </a:extLst>
          </p:cNvPr>
          <p:cNvPicPr>
            <a:picLocks noGrp="1" noChangeAspect="1"/>
          </p:cNvPicPr>
          <p:nvPr>
            <p:ph sz="quarter" idx="17"/>
          </p:nvPr>
        </p:nvPicPr>
        <p:blipFill>
          <a:blip r:embed="rId4"/>
          <a:stretch>
            <a:fillRect/>
          </a:stretch>
        </p:blipFill>
        <p:spPr>
          <a:xfrm>
            <a:off x="1276077" y="1079500"/>
            <a:ext cx="7526884" cy="4321175"/>
          </a:xfrm>
          <a:prstGeom prst="rect">
            <a:avLst/>
          </a:prstGeom>
        </p:spPr>
      </p:pic>
    </p:spTree>
    <p:extLst>
      <p:ext uri="{BB962C8B-B14F-4D97-AF65-F5344CB8AC3E}">
        <p14:creationId xmlns:p14="http://schemas.microsoft.com/office/powerpoint/2010/main" val="119508677"/>
      </p:ext>
    </p:extLst>
  </p:cSld>
  <p:clrMapOvr>
    <a:overrideClrMapping bg1="lt1" tx1="dk1" bg2="lt2" tx2="dk2" accent1="accent1" accent2="accent2" accent3="accent3" accent4="accent4" accent5="accent5" accent6="accent6" hlink="hlink" folHlink="folHlink"/>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t>KPI</a:t>
            </a:r>
            <a:r>
              <a:rPr lang="sk-SK" dirty="0"/>
              <a:t> 6</a:t>
            </a:r>
            <a:r>
              <a:rPr lang="pt-PT" dirty="0"/>
              <a:t>C - </a:t>
            </a:r>
            <a:r>
              <a:rPr lang="en-US" sz="1600" dirty="0"/>
              <a:t>Limiting constraints of the ATC domain​</a:t>
            </a:r>
            <a:endParaRPr lang="hu-HU" dirty="0"/>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ATC limiting constraints per TSO – </a:t>
            </a:r>
            <a:r>
              <a:rPr lang="en-US" dirty="0"/>
              <a:t>MAVIR</a:t>
            </a:r>
            <a:endParaRPr lang="en-US" sz="1400" dirty="0"/>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ACD313C7-3C97-2AC6-B29A-104A7DC9312B}"/>
              </a:ext>
            </a:extLst>
          </p:cNvPr>
          <p:cNvSpPr>
            <a:spLocks noGrp="1"/>
          </p:cNvSpPr>
          <p:nvPr>
            <p:ph type="sldNum" sz="quarter" idx="4"/>
          </p:nvPr>
        </p:nvSpPr>
        <p:spPr/>
        <p:txBody>
          <a:bodyPr/>
          <a:lstStyle/>
          <a:p>
            <a:fld id="{F551322C-20B2-48C3-B63D-68158FEBF630}" type="slidenum">
              <a:rPr lang="en-US" smtClean="0"/>
              <a:pPr/>
              <a:t>24</a:t>
            </a:fld>
            <a:endParaRPr lang="en-GB"/>
          </a:p>
        </p:txBody>
      </p:sp>
      <p:pic>
        <p:nvPicPr>
          <p:cNvPr id="4" name="Tartalom helye 6">
            <a:extLst>
              <a:ext uri="{FF2B5EF4-FFF2-40B4-BE49-F238E27FC236}">
                <a16:creationId xmlns:a16="http://schemas.microsoft.com/office/drawing/2014/main" id="{90170E7D-FC46-74E0-2E94-F2CB115E4679}"/>
              </a:ext>
            </a:extLst>
          </p:cNvPr>
          <p:cNvPicPr>
            <a:picLocks noGrp="1" noChangeAspect="1"/>
          </p:cNvPicPr>
          <p:nvPr>
            <p:ph sz="quarter" idx="17"/>
          </p:nvPr>
        </p:nvPicPr>
        <p:blipFill>
          <a:blip r:embed="rId4"/>
          <a:stretch>
            <a:fillRect/>
          </a:stretch>
        </p:blipFill>
        <p:spPr>
          <a:xfrm>
            <a:off x="973668" y="1152764"/>
            <a:ext cx="7767492" cy="4552471"/>
          </a:xfrm>
          <a:prstGeom prst="rect">
            <a:avLst/>
          </a:prstGeom>
        </p:spPr>
      </p:pic>
    </p:spTree>
    <p:extLst>
      <p:ext uri="{BB962C8B-B14F-4D97-AF65-F5344CB8AC3E}">
        <p14:creationId xmlns:p14="http://schemas.microsoft.com/office/powerpoint/2010/main" val="3220254051"/>
      </p:ext>
    </p:extLst>
  </p:cSld>
  <p:clrMapOvr>
    <a:overrideClrMapping bg1="lt1" tx1="dk1" bg2="lt2" tx2="dk2" accent1="accent1" accent2="accent2" accent3="accent3" accent4="accent4" accent5="accent5" accent6="accent6" hlink="hlink" folHlink="folHlink"/>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t>KPI</a:t>
            </a:r>
            <a:r>
              <a:rPr lang="sk-SK" dirty="0"/>
              <a:t> 6</a:t>
            </a:r>
            <a:r>
              <a:rPr lang="pt-PT" dirty="0"/>
              <a:t>C - </a:t>
            </a:r>
            <a:r>
              <a:rPr lang="en-US" sz="1600" dirty="0"/>
              <a:t>Limiting constraints of the ATC domain​</a:t>
            </a:r>
            <a:endParaRPr lang="hu-HU" dirty="0"/>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ATC limiting constraints per TSO – </a:t>
            </a:r>
            <a:r>
              <a:rPr lang="en-US" dirty="0" err="1"/>
              <a:t>Tennet</a:t>
            </a:r>
            <a:r>
              <a:rPr lang="en-US" dirty="0"/>
              <a:t> Netherlands</a:t>
            </a:r>
            <a:endParaRPr lang="en-US" sz="1400" dirty="0"/>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2E8E6DA3-0EC3-D042-31AF-17AADF16B5AB}"/>
              </a:ext>
            </a:extLst>
          </p:cNvPr>
          <p:cNvSpPr>
            <a:spLocks noGrp="1"/>
          </p:cNvSpPr>
          <p:nvPr>
            <p:ph type="sldNum" sz="quarter" idx="4"/>
          </p:nvPr>
        </p:nvSpPr>
        <p:spPr/>
        <p:txBody>
          <a:bodyPr/>
          <a:lstStyle/>
          <a:p>
            <a:fld id="{F551322C-20B2-48C3-B63D-68158FEBF630}" type="slidenum">
              <a:rPr lang="en-US" smtClean="0"/>
              <a:pPr/>
              <a:t>25</a:t>
            </a:fld>
            <a:endParaRPr lang="en-GB"/>
          </a:p>
        </p:txBody>
      </p:sp>
      <p:pic>
        <p:nvPicPr>
          <p:cNvPr id="4" name="Kép 3">
            <a:extLst>
              <a:ext uri="{FF2B5EF4-FFF2-40B4-BE49-F238E27FC236}">
                <a16:creationId xmlns:a16="http://schemas.microsoft.com/office/drawing/2014/main" id="{BE82A5C1-004E-405A-5D30-2D337DA23B20}"/>
              </a:ext>
            </a:extLst>
          </p:cNvPr>
          <p:cNvPicPr>
            <a:picLocks noChangeAspect="1"/>
          </p:cNvPicPr>
          <p:nvPr/>
        </p:nvPicPr>
        <p:blipFill>
          <a:blip r:embed="rId4"/>
          <a:stretch>
            <a:fillRect/>
          </a:stretch>
        </p:blipFill>
        <p:spPr>
          <a:xfrm>
            <a:off x="563033" y="1059045"/>
            <a:ext cx="8779933" cy="4739909"/>
          </a:xfrm>
          <a:prstGeom prst="rect">
            <a:avLst/>
          </a:prstGeom>
        </p:spPr>
      </p:pic>
    </p:spTree>
    <p:extLst>
      <p:ext uri="{BB962C8B-B14F-4D97-AF65-F5344CB8AC3E}">
        <p14:creationId xmlns:p14="http://schemas.microsoft.com/office/powerpoint/2010/main" val="3949701537"/>
      </p:ext>
    </p:extLst>
  </p:cSld>
  <p:clrMapOvr>
    <a:overrideClrMapping bg1="lt1" tx1="dk1" bg2="lt2" tx2="dk2" accent1="accent1" accent2="accent2" accent3="accent3" accent4="accent4" accent5="accent5" accent6="accent6" hlink="hlink" folHlink="folHlink"/>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t>KPI</a:t>
            </a:r>
            <a:r>
              <a:rPr lang="sk-SK" dirty="0"/>
              <a:t> 6</a:t>
            </a:r>
            <a:r>
              <a:rPr lang="pt-PT" dirty="0"/>
              <a:t>C - </a:t>
            </a:r>
            <a:r>
              <a:rPr lang="en-US" sz="1600" dirty="0"/>
              <a:t>Limiting constraints of the ATC domain​</a:t>
            </a:r>
            <a:endParaRPr lang="hu-HU" dirty="0"/>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ATC limiting constraints per TSO – </a:t>
            </a:r>
            <a:r>
              <a:rPr lang="en-US" dirty="0"/>
              <a:t>PSE</a:t>
            </a:r>
            <a:endParaRPr lang="en-US" sz="1400" dirty="0"/>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EE479C77-0388-D8C2-C56E-1419F2C815DA}"/>
              </a:ext>
            </a:extLst>
          </p:cNvPr>
          <p:cNvSpPr>
            <a:spLocks noGrp="1"/>
          </p:cNvSpPr>
          <p:nvPr>
            <p:ph type="sldNum" sz="quarter" idx="4"/>
          </p:nvPr>
        </p:nvSpPr>
        <p:spPr/>
        <p:txBody>
          <a:bodyPr/>
          <a:lstStyle/>
          <a:p>
            <a:fld id="{F551322C-20B2-48C3-B63D-68158FEBF630}" type="slidenum">
              <a:rPr lang="en-US" smtClean="0"/>
              <a:pPr/>
              <a:t>26</a:t>
            </a:fld>
            <a:endParaRPr lang="en-GB"/>
          </a:p>
        </p:txBody>
      </p:sp>
      <p:pic>
        <p:nvPicPr>
          <p:cNvPr id="4" name="Kép 3">
            <a:extLst>
              <a:ext uri="{FF2B5EF4-FFF2-40B4-BE49-F238E27FC236}">
                <a16:creationId xmlns:a16="http://schemas.microsoft.com/office/drawing/2014/main" id="{4C311B2F-00C3-B173-F570-A21DB231C4AC}"/>
              </a:ext>
            </a:extLst>
          </p:cNvPr>
          <p:cNvPicPr>
            <a:picLocks noChangeAspect="1"/>
          </p:cNvPicPr>
          <p:nvPr/>
        </p:nvPicPr>
        <p:blipFill>
          <a:blip r:embed="rId4"/>
          <a:stretch>
            <a:fillRect/>
          </a:stretch>
        </p:blipFill>
        <p:spPr>
          <a:xfrm>
            <a:off x="507817" y="842600"/>
            <a:ext cx="8890366" cy="4932261"/>
          </a:xfrm>
          <a:prstGeom prst="rect">
            <a:avLst/>
          </a:prstGeom>
        </p:spPr>
      </p:pic>
    </p:spTree>
    <p:extLst>
      <p:ext uri="{BB962C8B-B14F-4D97-AF65-F5344CB8AC3E}">
        <p14:creationId xmlns:p14="http://schemas.microsoft.com/office/powerpoint/2010/main" val="1676337175"/>
      </p:ext>
    </p:extLst>
  </p:cSld>
  <p:clrMapOvr>
    <a:overrideClrMapping bg1="lt1" tx1="dk1" bg2="lt2" tx2="dk2" accent1="accent1" accent2="accent2" accent3="accent3" accent4="accent4" accent5="accent5" accent6="accent6" hlink="hlink" folHlink="folHlink"/>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t>KPI</a:t>
            </a:r>
            <a:r>
              <a:rPr lang="sk-SK" dirty="0"/>
              <a:t> 6</a:t>
            </a:r>
            <a:r>
              <a:rPr lang="pt-PT" dirty="0"/>
              <a:t>C - </a:t>
            </a:r>
            <a:r>
              <a:rPr lang="en-US" sz="1600" dirty="0"/>
              <a:t>Limiting constraints of the ATC domain​</a:t>
            </a:r>
            <a:endParaRPr lang="hu-HU" dirty="0"/>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ATC limiting constraints per TSO – </a:t>
            </a:r>
            <a:r>
              <a:rPr lang="en-US" dirty="0" err="1"/>
              <a:t>Transelectrica</a:t>
            </a:r>
            <a:endParaRPr lang="en-US" sz="1400" dirty="0"/>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0731027F-6142-6771-D166-2AE90E78CCF4}"/>
              </a:ext>
            </a:extLst>
          </p:cNvPr>
          <p:cNvSpPr>
            <a:spLocks noGrp="1"/>
          </p:cNvSpPr>
          <p:nvPr>
            <p:ph type="sldNum" sz="quarter" idx="4"/>
          </p:nvPr>
        </p:nvSpPr>
        <p:spPr/>
        <p:txBody>
          <a:bodyPr/>
          <a:lstStyle/>
          <a:p>
            <a:fld id="{F551322C-20B2-48C3-B63D-68158FEBF630}" type="slidenum">
              <a:rPr lang="en-US" smtClean="0"/>
              <a:pPr/>
              <a:t>27</a:t>
            </a:fld>
            <a:endParaRPr lang="en-GB"/>
          </a:p>
        </p:txBody>
      </p:sp>
      <p:pic>
        <p:nvPicPr>
          <p:cNvPr id="4" name="Kép 3">
            <a:extLst>
              <a:ext uri="{FF2B5EF4-FFF2-40B4-BE49-F238E27FC236}">
                <a16:creationId xmlns:a16="http://schemas.microsoft.com/office/drawing/2014/main" id="{9E7AD65F-55EA-13AE-3660-B115BDA1D51E}"/>
              </a:ext>
            </a:extLst>
          </p:cNvPr>
          <p:cNvPicPr>
            <a:picLocks noChangeAspect="1"/>
          </p:cNvPicPr>
          <p:nvPr/>
        </p:nvPicPr>
        <p:blipFill>
          <a:blip r:embed="rId4"/>
          <a:stretch>
            <a:fillRect/>
          </a:stretch>
        </p:blipFill>
        <p:spPr>
          <a:xfrm>
            <a:off x="768972" y="946475"/>
            <a:ext cx="8542387" cy="4965049"/>
          </a:xfrm>
          <a:prstGeom prst="rect">
            <a:avLst/>
          </a:prstGeom>
        </p:spPr>
      </p:pic>
    </p:spTree>
    <p:extLst>
      <p:ext uri="{BB962C8B-B14F-4D97-AF65-F5344CB8AC3E}">
        <p14:creationId xmlns:p14="http://schemas.microsoft.com/office/powerpoint/2010/main" val="3804435653"/>
      </p:ext>
    </p:extLst>
  </p:cSld>
  <p:clrMapOvr>
    <a:overrideClrMapping bg1="lt1" tx1="dk1" bg2="lt2" tx2="dk2" accent1="accent1" accent2="accent2" accent3="accent3" accent4="accent4" accent5="accent5" accent6="accent6" hlink="hlink" folHlink="folHlink"/>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t>KPI</a:t>
            </a:r>
            <a:r>
              <a:rPr lang="sk-SK" dirty="0"/>
              <a:t> 6</a:t>
            </a:r>
            <a:r>
              <a:rPr lang="pt-PT" dirty="0"/>
              <a:t>C - </a:t>
            </a:r>
            <a:r>
              <a:rPr lang="en-US" sz="1600" dirty="0"/>
              <a:t>Limiting constraints of the ATC domain​</a:t>
            </a:r>
            <a:endParaRPr lang="hu-HU" dirty="0"/>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ATC limiting constraints per TSO – </a:t>
            </a:r>
            <a:r>
              <a:rPr lang="en-US" dirty="0"/>
              <a:t>ELES</a:t>
            </a:r>
            <a:endParaRPr lang="en-US" sz="1400" dirty="0"/>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10C9B418-AA22-858F-F103-6216EA6C3B39}"/>
              </a:ext>
            </a:extLst>
          </p:cNvPr>
          <p:cNvSpPr>
            <a:spLocks noGrp="1"/>
          </p:cNvSpPr>
          <p:nvPr>
            <p:ph type="sldNum" sz="quarter" idx="4"/>
          </p:nvPr>
        </p:nvSpPr>
        <p:spPr/>
        <p:txBody>
          <a:bodyPr/>
          <a:lstStyle/>
          <a:p>
            <a:fld id="{F551322C-20B2-48C3-B63D-68158FEBF630}" type="slidenum">
              <a:rPr lang="en-US" smtClean="0"/>
              <a:pPr/>
              <a:t>28</a:t>
            </a:fld>
            <a:endParaRPr lang="en-GB"/>
          </a:p>
        </p:txBody>
      </p:sp>
      <p:pic>
        <p:nvPicPr>
          <p:cNvPr id="4" name="Kép 3">
            <a:extLst>
              <a:ext uri="{FF2B5EF4-FFF2-40B4-BE49-F238E27FC236}">
                <a16:creationId xmlns:a16="http://schemas.microsoft.com/office/drawing/2014/main" id="{7AF33928-355E-5BBD-F8DD-94FEA8AEEB7F}"/>
              </a:ext>
            </a:extLst>
          </p:cNvPr>
          <p:cNvPicPr>
            <a:picLocks noChangeAspect="1"/>
          </p:cNvPicPr>
          <p:nvPr/>
        </p:nvPicPr>
        <p:blipFill>
          <a:blip r:embed="rId4"/>
          <a:stretch>
            <a:fillRect/>
          </a:stretch>
        </p:blipFill>
        <p:spPr>
          <a:xfrm>
            <a:off x="643467" y="731286"/>
            <a:ext cx="8912412" cy="5223500"/>
          </a:xfrm>
          <a:prstGeom prst="rect">
            <a:avLst/>
          </a:prstGeom>
        </p:spPr>
      </p:pic>
    </p:spTree>
    <p:extLst>
      <p:ext uri="{BB962C8B-B14F-4D97-AF65-F5344CB8AC3E}">
        <p14:creationId xmlns:p14="http://schemas.microsoft.com/office/powerpoint/2010/main" val="1218882232"/>
      </p:ext>
    </p:extLst>
  </p:cSld>
  <p:clrMapOvr>
    <a:overrideClrMapping bg1="lt1" tx1="dk1" bg2="lt2" tx2="dk2" accent1="accent1" accent2="accent2" accent3="accent3" accent4="accent4" accent5="accent5" accent6="accent6" hlink="hlink" folHlink="folHlink"/>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t>KPI</a:t>
            </a:r>
            <a:r>
              <a:rPr lang="sk-SK" dirty="0"/>
              <a:t> 6</a:t>
            </a:r>
            <a:r>
              <a:rPr lang="pt-PT" dirty="0"/>
              <a:t>C - </a:t>
            </a:r>
            <a:r>
              <a:rPr lang="en-US" sz="1600" dirty="0"/>
              <a:t>Limiting constraints of the ATC domain​</a:t>
            </a:r>
            <a:endParaRPr lang="hu-HU" dirty="0"/>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ATC limiting constraints per TSO - SEPS </a:t>
            </a:r>
          </a:p>
          <a:p>
            <a:endParaRPr lang="en-US" sz="1400" dirty="0"/>
          </a:p>
          <a:p>
            <a:endParaRPr lang="en-US" dirty="0"/>
          </a:p>
          <a:p>
            <a:endParaRPr lang="hu-HU" dirty="0"/>
          </a:p>
        </p:txBody>
      </p:sp>
      <p:sp>
        <p:nvSpPr>
          <p:cNvPr id="4" name="Slide Number Placeholder 3">
            <a:extLst>
              <a:ext uri="{FF2B5EF4-FFF2-40B4-BE49-F238E27FC236}">
                <a16:creationId xmlns:a16="http://schemas.microsoft.com/office/drawing/2014/main" id="{F5B8428F-DF96-46B4-5F9C-8E0A911CC476}"/>
              </a:ext>
            </a:extLst>
          </p:cNvPr>
          <p:cNvSpPr>
            <a:spLocks noGrp="1"/>
          </p:cNvSpPr>
          <p:nvPr>
            <p:ph type="sldNum" sz="quarter" idx="4"/>
          </p:nvPr>
        </p:nvSpPr>
        <p:spPr/>
        <p:txBody>
          <a:bodyPr/>
          <a:lstStyle/>
          <a:p>
            <a:fld id="{F551322C-20B2-48C3-B63D-68158FEBF630}" type="slidenum">
              <a:rPr lang="en-US" smtClean="0"/>
              <a:pPr/>
              <a:t>29</a:t>
            </a:fld>
            <a:endParaRPr lang="en-GB"/>
          </a:p>
        </p:txBody>
      </p:sp>
      <p:pic>
        <p:nvPicPr>
          <p:cNvPr id="5" name="Kép 4">
            <a:extLst>
              <a:ext uri="{FF2B5EF4-FFF2-40B4-BE49-F238E27FC236}">
                <a16:creationId xmlns:a16="http://schemas.microsoft.com/office/drawing/2014/main" id="{9CCC6025-7351-A8CE-1FF8-F4438B4F415B}"/>
              </a:ext>
            </a:extLst>
          </p:cNvPr>
          <p:cNvPicPr>
            <a:picLocks noChangeAspect="1"/>
          </p:cNvPicPr>
          <p:nvPr/>
        </p:nvPicPr>
        <p:blipFill>
          <a:blip r:embed="rId4"/>
          <a:stretch>
            <a:fillRect/>
          </a:stretch>
        </p:blipFill>
        <p:spPr>
          <a:xfrm>
            <a:off x="783415" y="1146153"/>
            <a:ext cx="8133479" cy="4766973"/>
          </a:xfrm>
          <a:prstGeom prst="rect">
            <a:avLst/>
          </a:prstGeom>
        </p:spPr>
      </p:pic>
    </p:spTree>
    <p:extLst>
      <p:ext uri="{BB962C8B-B14F-4D97-AF65-F5344CB8AC3E}">
        <p14:creationId xmlns:p14="http://schemas.microsoft.com/office/powerpoint/2010/main" val="2662137159"/>
      </p:ext>
    </p:extLst>
  </p:cSld>
  <p:clrMapOvr>
    <a:overrideClrMapping bg1="lt1" tx1="dk1" bg2="lt2" tx2="dk2" accent1="accent1" accent2="accent2" accent3="accent3" accent4="accent4" accent5="accent5" accent6="accent6" hlink="hlink" folHlink="folHlink"/>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nl-NL" sz="1600" dirty="0" err="1"/>
              <a:t>External</a:t>
            </a:r>
            <a:r>
              <a:rPr lang="nl-NL" sz="1600" dirty="0"/>
              <a:t> // run KPI report</a:t>
            </a:r>
            <a:endParaRPr lang="en-US" sz="1600" dirty="0"/>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p:txBody>
          <a:bodyPr/>
          <a:lstStyle/>
          <a:p>
            <a:pPr marL="0" marR="0" lvl="0" indent="0" algn="l" defTabSz="914400" rtl="0" eaLnBrk="1" fontAlgn="base" latinLnBrk="0" hangingPunct="1">
              <a:lnSpc>
                <a:spcPct val="100000"/>
              </a:lnSpc>
              <a:spcBef>
                <a:spcPts val="400"/>
              </a:spcBef>
              <a:spcAft>
                <a:spcPct val="0"/>
              </a:spcAft>
              <a:buClrTx/>
              <a:buSzPct val="100000"/>
              <a:buFont typeface="Arial" panose="020B0604020202020204" pitchFamily="34" charset="0"/>
              <a:buNone/>
              <a:tabLst/>
              <a:defRPr/>
            </a:pPr>
            <a:r>
              <a:rPr kumimoji="0" lang="en-US" sz="1400" b="0" i="0" u="none" strike="noStrike" kern="0" cap="none" spc="0" normalizeH="0" baseline="0" dirty="0">
                <a:ln>
                  <a:noFill/>
                </a:ln>
                <a:solidFill>
                  <a:srgbClr val="3366FF"/>
                </a:solidFill>
                <a:effectLst/>
                <a:uLnTx/>
                <a:uFillTx/>
                <a:latin typeface="Arial"/>
                <a:ea typeface="Arial Unicode MS" panose="020B0604020202020204" pitchFamily="34" charset="-128"/>
                <a:cs typeface="Arial" panose="020B0604020202020204" pitchFamily="34" charset="0"/>
              </a:rPr>
              <a:t>Overview of </a:t>
            </a:r>
            <a:r>
              <a:rPr lang="en-US" dirty="0">
                <a:latin typeface="Arial"/>
              </a:rPr>
              <a:t>the</a:t>
            </a:r>
            <a:r>
              <a:rPr kumimoji="0" lang="en-US" sz="1400" b="0" i="0" u="none" strike="noStrike" kern="0" cap="none" spc="0" normalizeH="0" baseline="0" dirty="0">
                <a:ln>
                  <a:noFill/>
                </a:ln>
                <a:solidFill>
                  <a:srgbClr val="3366FF"/>
                </a:solidFill>
                <a:effectLst/>
                <a:uLnTx/>
                <a:uFillTx/>
                <a:latin typeface="Arial"/>
                <a:ea typeface="Arial Unicode MS" panose="020B0604020202020204" pitchFamily="34" charset="-128"/>
                <a:cs typeface="Arial" panose="020B0604020202020204" pitchFamily="34" charset="0"/>
              </a:rPr>
              <a:t> KPIs covered during the // run</a:t>
            </a:r>
          </a:p>
        </p:txBody>
      </p:sp>
      <p:sp>
        <p:nvSpPr>
          <p:cNvPr id="4" name="Content Placeholder 3">
            <a:extLst>
              <a:ext uri="{FF2B5EF4-FFF2-40B4-BE49-F238E27FC236}">
                <a16:creationId xmlns:a16="http://schemas.microsoft.com/office/drawing/2014/main" id="{47ED7675-6667-D24B-91BC-481190D00DC0}"/>
              </a:ext>
            </a:extLst>
          </p:cNvPr>
          <p:cNvSpPr>
            <a:spLocks noGrp="1"/>
          </p:cNvSpPr>
          <p:nvPr>
            <p:ph sz="quarter" idx="17"/>
          </p:nvPr>
        </p:nvSpPr>
        <p:spPr>
          <a:xfrm>
            <a:off x="540000" y="839757"/>
            <a:ext cx="8952375" cy="6034357"/>
          </a:xfrm>
        </p:spPr>
        <p:txBody>
          <a:bodyPr vert="horz" lIns="91440" tIns="45720" rIns="91440" bIns="45720" rtlCol="0" anchor="t">
            <a:noAutofit/>
          </a:bodyPr>
          <a:lstStyle/>
          <a:p>
            <a:pPr>
              <a:defRPr/>
            </a:pPr>
            <a:r>
              <a:rPr lang="en-US" sz="1200" b="1" dirty="0">
                <a:latin typeface="Arial"/>
              </a:rPr>
              <a:t>ATC related KPIs</a:t>
            </a:r>
          </a:p>
          <a:p>
            <a:pPr marL="508000" lvl="2" indent="-228600" fontAlgn="ctr">
              <a:buSzPct val="100000"/>
              <a:buFont typeface="+mj-lt"/>
              <a:buAutoNum type="arabicPeriod"/>
            </a:pPr>
            <a:r>
              <a:rPr lang="en-US" sz="1100" dirty="0"/>
              <a:t>Duration curve of Number of Core Oriented Bidding Zone Borders with Zero or Negative ID ATCs​</a:t>
            </a:r>
          </a:p>
          <a:p>
            <a:pPr marL="508000" lvl="2" indent="-228600" fontAlgn="ctr">
              <a:buSzPct val="100000"/>
              <a:buFont typeface="+mj-lt"/>
              <a:buAutoNum type="arabicPeriod"/>
            </a:pPr>
            <a:r>
              <a:rPr lang="en-US" sz="1100" dirty="0"/>
              <a:t>Frequency of Zero </a:t>
            </a:r>
            <a:r>
              <a:rPr lang="sk-SK" sz="1100" dirty="0"/>
              <a:t>and </a:t>
            </a:r>
            <a:r>
              <a:rPr lang="en-US" sz="1100" dirty="0"/>
              <a:t>Negative ID ATCs by Oriented Core Bidding Zone Border​</a:t>
            </a:r>
          </a:p>
          <a:p>
            <a:pPr marL="768350" lvl="3" indent="-228600" fontAlgn="ctr">
              <a:buSzPct val="100000"/>
              <a:buFont typeface="+mj-lt"/>
              <a:buAutoNum type="alphaUcPeriod"/>
            </a:pPr>
            <a:r>
              <a:rPr lang="en-US" sz="1100" dirty="0"/>
              <a:t>Delta comparison with IDCC(b) run at ~4:30</a:t>
            </a:r>
          </a:p>
          <a:p>
            <a:pPr marL="508000" lvl="2" indent="-228600" fontAlgn="ctr">
              <a:buSzPct val="100000"/>
              <a:buFont typeface="+mj-lt"/>
              <a:buAutoNum type="arabicPeriod"/>
            </a:pPr>
            <a:r>
              <a:rPr lang="en-US" sz="1100" dirty="0"/>
              <a:t>Frequency of isolated Core Bidding Zones of zero (or negative) ID ATCs in import, export and both directions​</a:t>
            </a:r>
          </a:p>
          <a:p>
            <a:pPr marL="768350" lvl="3" indent="-228600" fontAlgn="ctr">
              <a:buSzPct val="100000"/>
              <a:buFont typeface="+mj-lt"/>
              <a:buAutoNum type="alphaUcPeriod"/>
            </a:pPr>
            <a:r>
              <a:rPr lang="en-US" sz="1100" dirty="0"/>
              <a:t>Delta comparison with IDCC(b) run at ~4:30</a:t>
            </a:r>
          </a:p>
          <a:p>
            <a:pPr marL="508000" lvl="2" indent="-228600" fontAlgn="ctr">
              <a:buSzPct val="100000"/>
              <a:buFont typeface="Wingdings" panose="05000000000000000000" pitchFamily="2" charset="2"/>
              <a:buAutoNum type="arabicPeriod"/>
            </a:pPr>
            <a:r>
              <a:rPr lang="en-US" sz="1100" dirty="0"/>
              <a:t>Mean positive ID ATCs by Oriented Core Bidding Zone Border</a:t>
            </a:r>
          </a:p>
          <a:p>
            <a:pPr marL="768350" lvl="3" indent="-228600" fontAlgn="ctr">
              <a:buSzPct val="100000"/>
              <a:buFont typeface="+mj-lt"/>
              <a:buAutoNum type="alphaUcPeriod"/>
            </a:pPr>
            <a:r>
              <a:rPr lang="en-US" sz="1100" dirty="0"/>
              <a:t>Delta comparison with IDCC(b) run at ~4:30</a:t>
            </a:r>
            <a:endParaRPr lang="en-US" sz="1050" dirty="0">
              <a:solidFill>
                <a:srgbClr val="3366FF"/>
              </a:solidFill>
              <a:latin typeface="Arial Unicode MS" charset="0"/>
              <a:ea typeface="ＭＳ Ｐゴシック" charset="0"/>
            </a:endParaRPr>
          </a:p>
          <a:p>
            <a:pPr marL="0" lvl="2" indent="0">
              <a:lnSpc>
                <a:spcPct val="150000"/>
              </a:lnSpc>
              <a:spcBef>
                <a:spcPts val="200"/>
              </a:spcBef>
              <a:spcAft>
                <a:spcPts val="0"/>
              </a:spcAft>
              <a:buSzPct val="100000"/>
              <a:buNone/>
              <a:defRPr/>
            </a:pPr>
            <a:r>
              <a:rPr lang="en-US" b="1" dirty="0">
                <a:solidFill>
                  <a:srgbClr val="3366FF"/>
                </a:solidFill>
                <a:latin typeface="Arial"/>
              </a:rPr>
              <a:t>TSOs’ adjustment after validation</a:t>
            </a:r>
          </a:p>
          <a:p>
            <a:pPr marL="508000" lvl="2" indent="-228600" fontAlgn="ctr">
              <a:buSzPct val="100000"/>
              <a:buFont typeface="+mj-lt"/>
              <a:buAutoNum type="arabicPeriod" startAt="5"/>
            </a:pPr>
            <a:r>
              <a:rPr lang="en-US" sz="1100" dirty="0"/>
              <a:t>Share of MTUs with intervention during IVA validation per TSO (IVA aggregations per TSO)</a:t>
            </a:r>
            <a:endParaRPr lang="en-US" sz="1050" dirty="0">
              <a:solidFill>
                <a:srgbClr val="3366FF"/>
              </a:solidFill>
              <a:latin typeface="Arial Unicode MS" charset="0"/>
              <a:ea typeface="ＭＳ Ｐゴシック" charset="0"/>
            </a:endParaRPr>
          </a:p>
          <a:p>
            <a:pPr marL="0" lvl="2" indent="0">
              <a:lnSpc>
                <a:spcPct val="150000"/>
              </a:lnSpc>
              <a:buSzPct val="100000"/>
              <a:buNone/>
              <a:defRPr/>
            </a:pPr>
            <a:r>
              <a:rPr lang="en-US" b="1" dirty="0">
                <a:solidFill>
                  <a:srgbClr val="3366FF"/>
                </a:solidFill>
                <a:latin typeface="Arial"/>
              </a:rPr>
              <a:t>Limiting elements</a:t>
            </a:r>
          </a:p>
          <a:p>
            <a:pPr marL="508000" lvl="2" indent="-228600" fontAlgn="ctr">
              <a:buSzPct val="100000"/>
              <a:buFont typeface="+mj-lt"/>
              <a:buAutoNum type="arabicPeriod" startAt="6"/>
            </a:pPr>
            <a:r>
              <a:rPr lang="en-US" sz="1100" dirty="0"/>
              <a:t>Limiting constraints of the ATC domain​</a:t>
            </a:r>
          </a:p>
          <a:p>
            <a:pPr marL="768350" lvl="3" indent="-228600" fontAlgn="ctr">
              <a:buSzPct val="100000"/>
              <a:buFont typeface="+mj-lt"/>
              <a:buAutoNum type="alphaUcPeriod"/>
            </a:pPr>
            <a:r>
              <a:rPr lang="en-US" sz="1100" dirty="0"/>
              <a:t>20 most limiting ATC constraints</a:t>
            </a:r>
          </a:p>
          <a:p>
            <a:pPr marL="768350" lvl="3" indent="-228600" fontAlgn="ctr">
              <a:buSzPct val="100000"/>
              <a:buFont typeface="+mj-lt"/>
              <a:buAutoNum type="alphaUcPeriod"/>
            </a:pPr>
            <a:r>
              <a:rPr lang="en-US" sz="1100" dirty="0"/>
              <a:t>Mean and Max of ATC limiting constraints</a:t>
            </a:r>
          </a:p>
          <a:p>
            <a:pPr marL="768350" lvl="3" indent="-228600" fontAlgn="ctr">
              <a:buSzPct val="100000"/>
              <a:buFont typeface="+mj-lt"/>
              <a:buAutoNum type="alphaUcPeriod"/>
            </a:pPr>
            <a:r>
              <a:rPr lang="en-US" sz="1100" dirty="0"/>
              <a:t>Mean and Max of ATC limiting constraints per TSO</a:t>
            </a:r>
          </a:p>
          <a:p>
            <a:pPr marL="768350" lvl="3" indent="-228600" fontAlgn="ctr">
              <a:buSzPct val="100000"/>
              <a:buFont typeface="+mj-lt"/>
              <a:buAutoNum type="alphaUcPeriod"/>
            </a:pPr>
            <a:r>
              <a:rPr lang="en-US" sz="1100" dirty="0">
                <a:ea typeface="Arial Unicode MS"/>
                <a:cs typeface="Arial"/>
              </a:rPr>
              <a:t>ATC Based Validation - Aggregations</a:t>
            </a:r>
          </a:p>
          <a:p>
            <a:pPr marL="508000" lvl="2" indent="-228600" fontAlgn="ctr">
              <a:buSzPct val="100000"/>
              <a:buFont typeface="+mj-lt"/>
              <a:buAutoNum type="arabicPeriod" startAt="6"/>
            </a:pPr>
            <a:r>
              <a:rPr lang="en-US" sz="1100" dirty="0">
                <a:ea typeface="Arial Unicode MS"/>
                <a:cs typeface="Arial"/>
              </a:rPr>
              <a:t>Most often used pre-solved CNECs​</a:t>
            </a:r>
          </a:p>
          <a:p>
            <a:pPr marL="768350" lvl="3" indent="-228600" fontAlgn="ctr">
              <a:buSzPct val="100000"/>
              <a:buFont typeface="+mj-lt"/>
              <a:buAutoNum type="alphaUcPeriod"/>
            </a:pPr>
            <a:r>
              <a:rPr lang="en-US" sz="1100" dirty="0"/>
              <a:t>20 most limiting pre-solved constraints</a:t>
            </a:r>
          </a:p>
          <a:p>
            <a:pPr marL="768350" lvl="3" indent="-228600" fontAlgn="ctr">
              <a:buSzPct val="100000"/>
              <a:buFont typeface="+mj-lt"/>
              <a:buAutoNum type="alphaUcPeriod"/>
            </a:pPr>
            <a:r>
              <a:rPr lang="en-US" sz="1100" dirty="0"/>
              <a:t>Mean and Max of pre-solved constraints</a:t>
            </a:r>
          </a:p>
          <a:p>
            <a:pPr marL="768350" lvl="3" indent="-228600" fontAlgn="ctr">
              <a:buSzPct val="100000"/>
              <a:buFont typeface="+mj-lt"/>
              <a:buAutoNum type="alphaUcPeriod"/>
            </a:pPr>
            <a:r>
              <a:rPr lang="en-US" sz="1100" dirty="0"/>
              <a:t>Mean and Max of pre-solved constraints per TSO</a:t>
            </a:r>
            <a:endParaRPr lang="sk-SK" sz="1100" dirty="0">
              <a:ea typeface="Arial Unicode MS"/>
              <a:cs typeface="Arial"/>
            </a:endParaRPr>
          </a:p>
          <a:p>
            <a:pPr marL="0" lvl="2" indent="0">
              <a:lnSpc>
                <a:spcPct val="150000"/>
              </a:lnSpc>
              <a:buSzPct val="100000"/>
              <a:buNone/>
              <a:defRPr/>
            </a:pPr>
            <a:r>
              <a:rPr lang="en-US" b="1" dirty="0">
                <a:solidFill>
                  <a:srgbClr val="3366FF"/>
                </a:solidFill>
                <a:latin typeface="Arial"/>
              </a:rPr>
              <a:t>Net positions</a:t>
            </a:r>
          </a:p>
          <a:p>
            <a:pPr marL="508000" lvl="2" indent="-228600" fontAlgn="ctr">
              <a:buSzPct val="100000"/>
              <a:buFont typeface="+mj-lt"/>
              <a:buAutoNum type="arabicPeriod" startAt="8"/>
            </a:pPr>
            <a:r>
              <a:rPr lang="en-US" sz="1100" dirty="0"/>
              <a:t>Min and Max Net Positions per Bidding Zone​</a:t>
            </a:r>
            <a:endParaRPr lang="sk-SK" sz="1100" dirty="0"/>
          </a:p>
          <a:p>
            <a:pPr marL="768350" lvl="3" indent="-228600" fontAlgn="ctr">
              <a:buSzPct val="100000"/>
              <a:buFont typeface="+mj-lt"/>
              <a:buAutoNum type="alphaUcPeriod"/>
            </a:pPr>
            <a:r>
              <a:rPr lang="en-US" sz="1100" dirty="0"/>
              <a:t>Based on final FB domain</a:t>
            </a:r>
            <a:endParaRPr lang="en-US" sz="1100" dirty="0">
              <a:highlight>
                <a:srgbClr val="FFFF00"/>
              </a:highlight>
            </a:endParaRPr>
          </a:p>
          <a:p>
            <a:pPr marL="768350" lvl="3" indent="-228600" fontAlgn="ctr">
              <a:buSzPct val="100000"/>
              <a:buFont typeface="+mj-lt"/>
              <a:buAutoNum type="alphaUcPeriod"/>
            </a:pPr>
            <a:r>
              <a:rPr lang="en-US" sz="1100" dirty="0"/>
              <a:t>Based on final ID ATC</a:t>
            </a:r>
            <a:endParaRPr lang="en-US" sz="1100" dirty="0">
              <a:highlight>
                <a:srgbClr val="FFFF00"/>
              </a:highlight>
            </a:endParaRPr>
          </a:p>
          <a:p>
            <a:pPr marL="0" lvl="2" indent="0">
              <a:lnSpc>
                <a:spcPct val="150000"/>
              </a:lnSpc>
              <a:buSzPct val="100000"/>
              <a:buNone/>
              <a:defRPr/>
            </a:pPr>
            <a:r>
              <a:rPr lang="en-US" sz="1100" dirty="0">
                <a:solidFill>
                  <a:srgbClr val="3366FF"/>
                </a:solidFill>
                <a:latin typeface="Arial"/>
                <a:ea typeface="Arial Unicode MS"/>
                <a:cs typeface="Arial"/>
              </a:rPr>
              <a:t>Reading Guide with a detail description of the KPIs available on </a:t>
            </a:r>
            <a:r>
              <a:rPr lang="en-US" sz="1100" b="1" dirty="0">
                <a:solidFill>
                  <a:srgbClr val="3366FF"/>
                </a:solidFill>
                <a:latin typeface="Arial"/>
                <a:ea typeface="Arial Unicode MS"/>
                <a:cs typeface="Arial"/>
              </a:rPr>
              <a:t>[</a:t>
            </a:r>
            <a:r>
              <a:rPr lang="en-US" sz="1100" b="1" dirty="0">
                <a:solidFill>
                  <a:srgbClr val="3366FF"/>
                </a:solidFill>
                <a:latin typeface="Arial"/>
                <a:ea typeface="Arial Unicode MS"/>
                <a:cs typeface="Arial"/>
                <a:hlinkClick r:id="rId6">
                  <a:extLst>
                    <a:ext uri="{A12FA001-AC4F-418D-AE19-62706E023703}">
                      <ahyp:hlinkClr xmlns:ahyp="http://schemas.microsoft.com/office/drawing/2018/hyperlinkcolor" val="tx"/>
                    </a:ext>
                  </a:extLst>
                </a:hlinkClick>
              </a:rPr>
              <a:t>JAO</a:t>
            </a:r>
            <a:r>
              <a:rPr lang="en-US" sz="1100" b="1" dirty="0">
                <a:solidFill>
                  <a:srgbClr val="3366FF"/>
                </a:solidFill>
                <a:latin typeface="Arial"/>
                <a:ea typeface="Arial Unicode MS"/>
                <a:cs typeface="Arial"/>
              </a:rPr>
              <a:t>]</a:t>
            </a:r>
          </a:p>
        </p:txBody>
      </p:sp>
      <p:grpSp>
        <p:nvGrpSpPr>
          <p:cNvPr id="7" name="Group 6">
            <a:extLst>
              <a:ext uri="{FF2B5EF4-FFF2-40B4-BE49-F238E27FC236}">
                <a16:creationId xmlns:a16="http://schemas.microsoft.com/office/drawing/2014/main" id="{86F34570-F252-5DEF-F988-3F17BDA45AA9}"/>
              </a:ext>
            </a:extLst>
          </p:cNvPr>
          <p:cNvGrpSpPr/>
          <p:nvPr/>
        </p:nvGrpSpPr>
        <p:grpSpPr>
          <a:xfrm>
            <a:off x="7286801" y="1170772"/>
            <a:ext cx="2157722" cy="246221"/>
            <a:chOff x="8027396" y="1068225"/>
            <a:chExt cx="2157722" cy="246221"/>
          </a:xfrm>
        </p:grpSpPr>
        <p:sp>
          <p:nvSpPr>
            <p:cNvPr id="2" name="Rectangle: Rounded Corners 1">
              <a:extLst>
                <a:ext uri="{FF2B5EF4-FFF2-40B4-BE49-F238E27FC236}">
                  <a16:creationId xmlns:a16="http://schemas.microsoft.com/office/drawing/2014/main" id="{2C17CBD5-968F-3F3F-E553-2D31E0D92E60}"/>
                </a:ext>
              </a:extLst>
            </p:cNvPr>
            <p:cNvSpPr/>
            <p:nvPr/>
          </p:nvSpPr>
          <p:spPr bwMode="auto">
            <a:xfrm>
              <a:off x="8035218" y="1068225"/>
              <a:ext cx="2054472" cy="246221"/>
            </a:xfrm>
            <a:prstGeom prst="roundRect">
              <a:avLst/>
            </a:prstGeom>
            <a:solidFill>
              <a:schemeClr val="accent4">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LID4096" sz="1400" b="0" i="0" u="none" strike="noStrike" cap="none" normalizeH="0" baseline="0">
                <a:ln>
                  <a:noFill/>
                </a:ln>
                <a:solidFill>
                  <a:schemeClr val="tx1"/>
                </a:solidFill>
                <a:effectLst/>
                <a:latin typeface="+mn-lt"/>
              </a:endParaRPr>
            </a:p>
          </p:txBody>
        </p:sp>
        <p:sp>
          <p:nvSpPr>
            <p:cNvPr id="6" name="TextBox 5">
              <a:extLst>
                <a:ext uri="{FF2B5EF4-FFF2-40B4-BE49-F238E27FC236}">
                  <a16:creationId xmlns:a16="http://schemas.microsoft.com/office/drawing/2014/main" id="{CB1F6A26-41DA-3BC1-4660-1F1B260A9085}"/>
                </a:ext>
              </a:extLst>
            </p:cNvPr>
            <p:cNvSpPr txBox="1"/>
            <p:nvPr/>
          </p:nvSpPr>
          <p:spPr>
            <a:xfrm>
              <a:off x="8027396" y="1068225"/>
              <a:ext cx="2157722" cy="215444"/>
            </a:xfrm>
            <a:prstGeom prst="rect">
              <a:avLst/>
            </a:prstGeom>
            <a:noFill/>
          </p:spPr>
          <p:txBody>
            <a:bodyPr wrap="square" rtlCol="0">
              <a:spAutoFit/>
            </a:bodyPr>
            <a:lstStyle/>
            <a:p>
              <a:pPr algn="l"/>
              <a:r>
                <a:rPr lang="pt-PT" sz="800" b="1" dirty="0">
                  <a:solidFill>
                    <a:schemeClr val="tx2"/>
                  </a:solidFill>
                  <a:latin typeface="Arial" panose="020B0604020202020204" pitchFamily="34" charset="0"/>
                  <a:cs typeface="Arial" panose="020B0604020202020204" pitchFamily="34" charset="0"/>
                </a:rPr>
                <a:t>Included only as of IDCC(c) go-live date</a:t>
              </a:r>
              <a:endParaRPr lang="LID4096" sz="800" b="1" dirty="0">
                <a:solidFill>
                  <a:schemeClr val="tx2"/>
                </a:solidFill>
                <a:latin typeface="Arial" panose="020B0604020202020204" pitchFamily="34" charset="0"/>
                <a:cs typeface="Arial" panose="020B0604020202020204" pitchFamily="34" charset="0"/>
              </a:endParaRPr>
            </a:p>
          </p:txBody>
        </p:sp>
      </p:grpSp>
      <p:sp>
        <p:nvSpPr>
          <p:cNvPr id="9" name="Slide Number Placeholder 8">
            <a:extLst>
              <a:ext uri="{FF2B5EF4-FFF2-40B4-BE49-F238E27FC236}">
                <a16:creationId xmlns:a16="http://schemas.microsoft.com/office/drawing/2014/main" id="{19A48AC4-2CF5-77AE-535C-ED928F3CBF09}"/>
              </a:ext>
            </a:extLst>
          </p:cNvPr>
          <p:cNvSpPr>
            <a:spLocks noGrp="1"/>
          </p:cNvSpPr>
          <p:nvPr>
            <p:ph type="sldNum" sz="quarter" idx="4"/>
          </p:nvPr>
        </p:nvSpPr>
        <p:spPr/>
        <p:txBody>
          <a:bodyPr/>
          <a:lstStyle/>
          <a:p>
            <a:fld id="{F551322C-20B2-48C3-B63D-68158FEBF630}" type="slidenum">
              <a:rPr lang="en-US" smtClean="0"/>
              <a:pPr/>
              <a:t>3</a:t>
            </a:fld>
            <a:endParaRPr lang="en-GB"/>
          </a:p>
        </p:txBody>
      </p:sp>
    </p:spTree>
    <p:extLst>
      <p:ext uri="{BB962C8B-B14F-4D97-AF65-F5344CB8AC3E}">
        <p14:creationId xmlns:p14="http://schemas.microsoft.com/office/powerpoint/2010/main" val="25631628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t>KPI</a:t>
            </a:r>
            <a:r>
              <a:rPr lang="sk-SK" dirty="0"/>
              <a:t> 6</a:t>
            </a:r>
            <a:r>
              <a:rPr lang="pt-PT" dirty="0"/>
              <a:t>D</a:t>
            </a:r>
            <a:endParaRPr lang="hu-HU" dirty="0"/>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ATC Based Validation - Aggregations</a:t>
            </a:r>
          </a:p>
          <a:p>
            <a:endParaRPr lang="en-US" sz="1400" dirty="0"/>
          </a:p>
          <a:p>
            <a:endParaRPr lang="en-US" sz="1400" dirty="0"/>
          </a:p>
          <a:p>
            <a:r>
              <a:rPr lang="en-US">
                <a:ea typeface="Arial Unicode MS"/>
                <a:cs typeface="Arial"/>
              </a:rPr>
              <a:t>No ATC validation performed since start of the IDCC(c) ext//run</a:t>
            </a:r>
            <a:endParaRPr lang="en-US"/>
          </a:p>
          <a:p>
            <a:endParaRPr lang="hu-HU" dirty="0"/>
          </a:p>
        </p:txBody>
      </p:sp>
      <p:sp>
        <p:nvSpPr>
          <p:cNvPr id="5" name="Slide Number Placeholder 4">
            <a:extLst>
              <a:ext uri="{FF2B5EF4-FFF2-40B4-BE49-F238E27FC236}">
                <a16:creationId xmlns:a16="http://schemas.microsoft.com/office/drawing/2014/main" id="{37D9F96F-7299-BC53-568E-A819BD8327BA}"/>
              </a:ext>
            </a:extLst>
          </p:cNvPr>
          <p:cNvSpPr>
            <a:spLocks noGrp="1"/>
          </p:cNvSpPr>
          <p:nvPr>
            <p:ph type="sldNum" sz="quarter" idx="4"/>
          </p:nvPr>
        </p:nvSpPr>
        <p:spPr/>
        <p:txBody>
          <a:bodyPr/>
          <a:lstStyle/>
          <a:p>
            <a:fld id="{F551322C-20B2-48C3-B63D-68158FEBF630}" type="slidenum">
              <a:rPr lang="en-US" smtClean="0"/>
              <a:pPr/>
              <a:t>30</a:t>
            </a:fld>
            <a:endParaRPr lang="en-GB"/>
          </a:p>
        </p:txBody>
      </p:sp>
    </p:spTree>
    <p:extLst>
      <p:ext uri="{BB962C8B-B14F-4D97-AF65-F5344CB8AC3E}">
        <p14:creationId xmlns:p14="http://schemas.microsoft.com/office/powerpoint/2010/main" val="2304546945"/>
      </p:ext>
    </p:extLst>
  </p:cSld>
  <p:clrMapOvr>
    <a:overrideClrMapping bg1="lt1" tx1="dk1" bg2="lt2" tx2="dk2" accent1="accent1" accent2="accent2" accent3="accent3" accent4="accent4" accent5="accent5" accent6="accent6" hlink="hlink" folHlink="folHlink"/>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ea typeface="Arial Unicode MS"/>
                <a:cs typeface="Arial"/>
              </a:rPr>
              <a:t>KPI</a:t>
            </a:r>
            <a:r>
              <a:rPr lang="sk-SK" dirty="0">
                <a:ea typeface="Arial Unicode MS"/>
                <a:cs typeface="Arial"/>
              </a:rPr>
              <a:t> </a:t>
            </a:r>
            <a:r>
              <a:rPr lang="pt-PT" dirty="0">
                <a:ea typeface="Arial Unicode MS"/>
                <a:cs typeface="Arial"/>
              </a:rPr>
              <a:t>7A &amp; 7B - </a:t>
            </a:r>
            <a:r>
              <a:rPr lang="en-US" sz="1600">
                <a:ea typeface="Arial Unicode MS"/>
                <a:cs typeface="Arial"/>
              </a:rPr>
              <a:t>Most often used pre-solved </a:t>
            </a:r>
            <a:r>
              <a:rPr lang="en-US">
                <a:ea typeface="Arial Unicode MS"/>
                <a:cs typeface="Arial"/>
              </a:rPr>
              <a:t>CNEsC</a:t>
            </a:r>
            <a:r>
              <a:rPr lang="en-US" sz="1600">
                <a:ea typeface="Arial Unicode MS"/>
                <a:cs typeface="Arial"/>
              </a:rPr>
              <a:t>​</a:t>
            </a:r>
            <a:br>
              <a:rPr lang="sk-SK" sz="1600" dirty="0">
                <a:ea typeface="Arial Unicode MS"/>
                <a:cs typeface="Arial"/>
              </a:rPr>
            </a:br>
            <a:endParaRPr lang="hu-HU" dirty="0"/>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20 most limiting pre-solved constraints &amp; Mean and Max of pre-solved constraints</a:t>
            </a:r>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DBE665C1-D763-7784-D40C-66304AC9DFF4}"/>
              </a:ext>
            </a:extLst>
          </p:cNvPr>
          <p:cNvSpPr>
            <a:spLocks noGrp="1"/>
          </p:cNvSpPr>
          <p:nvPr>
            <p:ph type="sldNum" sz="quarter" idx="4"/>
          </p:nvPr>
        </p:nvSpPr>
        <p:spPr/>
        <p:txBody>
          <a:bodyPr/>
          <a:lstStyle/>
          <a:p>
            <a:fld id="{F551322C-20B2-48C3-B63D-68158FEBF630}" type="slidenum">
              <a:rPr lang="en-US" smtClean="0"/>
              <a:pPr/>
              <a:t>31</a:t>
            </a:fld>
            <a:endParaRPr lang="en-GB"/>
          </a:p>
        </p:txBody>
      </p:sp>
      <p:pic>
        <p:nvPicPr>
          <p:cNvPr id="6" name="Kép 5">
            <a:extLst>
              <a:ext uri="{FF2B5EF4-FFF2-40B4-BE49-F238E27FC236}">
                <a16:creationId xmlns:a16="http://schemas.microsoft.com/office/drawing/2014/main" id="{37FCEA5F-8082-CDE2-C35B-22F03F88BF06}"/>
              </a:ext>
            </a:extLst>
          </p:cNvPr>
          <p:cNvPicPr>
            <a:picLocks noChangeAspect="1"/>
          </p:cNvPicPr>
          <p:nvPr/>
        </p:nvPicPr>
        <p:blipFill>
          <a:blip r:embed="rId3"/>
          <a:stretch>
            <a:fillRect/>
          </a:stretch>
        </p:blipFill>
        <p:spPr>
          <a:xfrm>
            <a:off x="1035586" y="1225549"/>
            <a:ext cx="7381339" cy="4695371"/>
          </a:xfrm>
          <a:prstGeom prst="rect">
            <a:avLst/>
          </a:prstGeom>
        </p:spPr>
      </p:pic>
    </p:spTree>
    <p:extLst>
      <p:ext uri="{BB962C8B-B14F-4D97-AF65-F5344CB8AC3E}">
        <p14:creationId xmlns:p14="http://schemas.microsoft.com/office/powerpoint/2010/main" val="95112184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ea typeface="Arial Unicode MS"/>
                <a:cs typeface="Arial"/>
              </a:rPr>
              <a:t>KPI</a:t>
            </a:r>
            <a:r>
              <a:rPr lang="sk-SK" dirty="0">
                <a:ea typeface="Arial Unicode MS"/>
                <a:cs typeface="Arial"/>
              </a:rPr>
              <a:t> </a:t>
            </a:r>
            <a:r>
              <a:rPr lang="pt-PT" dirty="0">
                <a:ea typeface="Arial Unicode MS"/>
                <a:cs typeface="Arial"/>
              </a:rPr>
              <a:t>7A &amp; 7B - </a:t>
            </a:r>
            <a:r>
              <a:rPr lang="en-US" sz="1600">
                <a:ea typeface="Arial Unicode MS"/>
                <a:cs typeface="Arial"/>
              </a:rPr>
              <a:t>Most often used pre-solved </a:t>
            </a:r>
            <a:r>
              <a:rPr lang="en-US">
                <a:ea typeface="Arial Unicode MS"/>
                <a:cs typeface="Arial"/>
              </a:rPr>
              <a:t>CNECs</a:t>
            </a:r>
            <a:r>
              <a:rPr lang="en-US" sz="1600">
                <a:ea typeface="Arial Unicode MS"/>
                <a:cs typeface="Arial"/>
              </a:rPr>
              <a:t>​</a:t>
            </a:r>
            <a:br>
              <a:rPr lang="sk-SK" sz="1600" dirty="0">
                <a:ea typeface="Arial Unicode MS"/>
                <a:cs typeface="Arial"/>
              </a:rPr>
            </a:br>
            <a:endParaRPr lang="hu-HU" dirty="0"/>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20 most limiting pre-solved constraints &amp; Mean and Max of pre-solved constraints</a:t>
            </a:r>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DBE665C1-D763-7784-D40C-66304AC9DFF4}"/>
              </a:ext>
            </a:extLst>
          </p:cNvPr>
          <p:cNvSpPr>
            <a:spLocks noGrp="1"/>
          </p:cNvSpPr>
          <p:nvPr>
            <p:ph type="sldNum" sz="quarter" idx="4"/>
          </p:nvPr>
        </p:nvSpPr>
        <p:spPr/>
        <p:txBody>
          <a:bodyPr/>
          <a:lstStyle/>
          <a:p>
            <a:fld id="{F551322C-20B2-48C3-B63D-68158FEBF630}" type="slidenum">
              <a:rPr lang="en-US" smtClean="0"/>
              <a:pPr/>
              <a:t>32</a:t>
            </a:fld>
            <a:endParaRPr lang="en-GB"/>
          </a:p>
        </p:txBody>
      </p:sp>
      <p:pic>
        <p:nvPicPr>
          <p:cNvPr id="4" name="Kép 3">
            <a:extLst>
              <a:ext uri="{FF2B5EF4-FFF2-40B4-BE49-F238E27FC236}">
                <a16:creationId xmlns:a16="http://schemas.microsoft.com/office/drawing/2014/main" id="{9FAB24B7-0811-2793-4B2C-4A02EC0F056C}"/>
              </a:ext>
            </a:extLst>
          </p:cNvPr>
          <p:cNvPicPr>
            <a:picLocks noChangeAspect="1"/>
          </p:cNvPicPr>
          <p:nvPr/>
        </p:nvPicPr>
        <p:blipFill>
          <a:blip r:embed="rId3"/>
          <a:stretch>
            <a:fillRect/>
          </a:stretch>
        </p:blipFill>
        <p:spPr>
          <a:xfrm>
            <a:off x="540000" y="1222561"/>
            <a:ext cx="8640000" cy="5173789"/>
          </a:xfrm>
          <a:prstGeom prst="rect">
            <a:avLst/>
          </a:prstGeom>
        </p:spPr>
      </p:pic>
    </p:spTree>
    <p:extLst>
      <p:ext uri="{BB962C8B-B14F-4D97-AF65-F5344CB8AC3E}">
        <p14:creationId xmlns:p14="http://schemas.microsoft.com/office/powerpoint/2010/main" val="96160783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ea typeface="Arial Unicode MS"/>
                <a:cs typeface="Arial"/>
              </a:rPr>
              <a:t>KPI</a:t>
            </a:r>
            <a:r>
              <a:rPr lang="sk-SK" dirty="0">
                <a:ea typeface="Arial Unicode MS"/>
                <a:cs typeface="Arial"/>
              </a:rPr>
              <a:t> </a:t>
            </a:r>
            <a:r>
              <a:rPr lang="pt-PT" dirty="0">
                <a:ea typeface="Arial Unicode MS"/>
                <a:cs typeface="Arial"/>
              </a:rPr>
              <a:t>7C - </a:t>
            </a:r>
            <a:r>
              <a:rPr lang="en-US" sz="1600">
                <a:ea typeface="Arial Unicode MS"/>
                <a:cs typeface="Arial"/>
              </a:rPr>
              <a:t>Most often used pre-solved </a:t>
            </a:r>
            <a:r>
              <a:rPr lang="en-US">
                <a:ea typeface="Arial Unicode MS"/>
                <a:cs typeface="Arial"/>
              </a:rPr>
              <a:t>CNECs</a:t>
            </a:r>
            <a:r>
              <a:rPr lang="en-US" sz="1600">
                <a:ea typeface="Arial Unicode MS"/>
                <a:cs typeface="Arial"/>
              </a:rPr>
              <a:t>​ ​</a:t>
            </a:r>
            <a:endParaRPr lang="hu-HU">
              <a:ea typeface="Arial Unicode MS"/>
              <a:cs typeface="Arial"/>
            </a:endParaRPr>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pre-solved constraints per TSO - APG </a:t>
            </a:r>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98F75512-E3F5-CF2B-51C0-6C0C4C882E8C}"/>
              </a:ext>
            </a:extLst>
          </p:cNvPr>
          <p:cNvSpPr>
            <a:spLocks noGrp="1"/>
          </p:cNvSpPr>
          <p:nvPr>
            <p:ph type="sldNum" sz="quarter" idx="4"/>
          </p:nvPr>
        </p:nvSpPr>
        <p:spPr/>
        <p:txBody>
          <a:bodyPr/>
          <a:lstStyle/>
          <a:p>
            <a:fld id="{F551322C-20B2-48C3-B63D-68158FEBF630}" type="slidenum">
              <a:rPr lang="en-US" smtClean="0"/>
              <a:pPr/>
              <a:t>33</a:t>
            </a:fld>
            <a:endParaRPr lang="en-GB"/>
          </a:p>
        </p:txBody>
      </p:sp>
      <p:pic>
        <p:nvPicPr>
          <p:cNvPr id="4" name="Tartalom helye 16">
            <a:extLst>
              <a:ext uri="{FF2B5EF4-FFF2-40B4-BE49-F238E27FC236}">
                <a16:creationId xmlns:a16="http://schemas.microsoft.com/office/drawing/2014/main" id="{06B85177-14ED-D6CA-3F6B-726F14A5C820}"/>
              </a:ext>
            </a:extLst>
          </p:cNvPr>
          <p:cNvPicPr>
            <a:picLocks noGrp="1" noChangeAspect="1"/>
          </p:cNvPicPr>
          <p:nvPr>
            <p:ph sz="quarter" idx="17"/>
          </p:nvPr>
        </p:nvPicPr>
        <p:blipFill>
          <a:blip r:embed="rId3"/>
          <a:stretch>
            <a:fillRect/>
          </a:stretch>
        </p:blipFill>
        <p:spPr>
          <a:xfrm>
            <a:off x="0" y="1597796"/>
            <a:ext cx="9573245" cy="3493967"/>
          </a:xfrm>
          <a:prstGeom prst="rect">
            <a:avLst/>
          </a:prstGeom>
        </p:spPr>
      </p:pic>
    </p:spTree>
    <p:extLst>
      <p:ext uri="{BB962C8B-B14F-4D97-AF65-F5344CB8AC3E}">
        <p14:creationId xmlns:p14="http://schemas.microsoft.com/office/powerpoint/2010/main" val="179744459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ea typeface="Arial Unicode MS"/>
                <a:cs typeface="Arial"/>
              </a:rPr>
              <a:t>KPI</a:t>
            </a:r>
            <a:r>
              <a:rPr lang="sk-SK" dirty="0">
                <a:ea typeface="Arial Unicode MS"/>
                <a:cs typeface="Arial"/>
              </a:rPr>
              <a:t> </a:t>
            </a:r>
            <a:r>
              <a:rPr lang="pt-PT" dirty="0">
                <a:ea typeface="Arial Unicode MS"/>
                <a:cs typeface="Arial"/>
              </a:rPr>
              <a:t>7C - </a:t>
            </a:r>
            <a:r>
              <a:rPr lang="en-US" sz="1600">
                <a:ea typeface="Arial Unicode MS"/>
                <a:cs typeface="Arial"/>
              </a:rPr>
              <a:t>Most often used pre-solved </a:t>
            </a:r>
            <a:r>
              <a:rPr lang="en-US">
                <a:ea typeface="Arial Unicode MS"/>
                <a:cs typeface="Arial"/>
              </a:rPr>
              <a:t>CNECs</a:t>
            </a:r>
            <a:r>
              <a:rPr lang="en-US" sz="1600">
                <a:ea typeface="Arial Unicode MS"/>
                <a:cs typeface="Arial"/>
              </a:rPr>
              <a:t>​ ​</a:t>
            </a:r>
            <a:endParaRPr lang="hu-HU">
              <a:ea typeface="Arial Unicode MS"/>
              <a:cs typeface="Arial"/>
            </a:endParaRPr>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pre-solved constraints per TSO - Elia </a:t>
            </a:r>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9C8D87E6-09E6-55BC-D232-F25E98889BFF}"/>
              </a:ext>
            </a:extLst>
          </p:cNvPr>
          <p:cNvSpPr>
            <a:spLocks noGrp="1"/>
          </p:cNvSpPr>
          <p:nvPr>
            <p:ph type="sldNum" sz="quarter" idx="4"/>
          </p:nvPr>
        </p:nvSpPr>
        <p:spPr/>
        <p:txBody>
          <a:bodyPr/>
          <a:lstStyle/>
          <a:p>
            <a:fld id="{F551322C-20B2-48C3-B63D-68158FEBF630}" type="slidenum">
              <a:rPr lang="en-US" smtClean="0"/>
              <a:pPr/>
              <a:t>34</a:t>
            </a:fld>
            <a:endParaRPr lang="en-GB"/>
          </a:p>
        </p:txBody>
      </p:sp>
      <p:pic>
        <p:nvPicPr>
          <p:cNvPr id="4" name="Tartalom helye 7">
            <a:extLst>
              <a:ext uri="{FF2B5EF4-FFF2-40B4-BE49-F238E27FC236}">
                <a16:creationId xmlns:a16="http://schemas.microsoft.com/office/drawing/2014/main" id="{A9EFDB70-B3B9-BC5A-D000-AA372329A58D}"/>
              </a:ext>
            </a:extLst>
          </p:cNvPr>
          <p:cNvPicPr>
            <a:picLocks noGrp="1" noChangeAspect="1"/>
          </p:cNvPicPr>
          <p:nvPr>
            <p:ph sz="quarter" idx="17"/>
          </p:nvPr>
        </p:nvPicPr>
        <p:blipFill>
          <a:blip r:embed="rId3"/>
          <a:stretch>
            <a:fillRect/>
          </a:stretch>
        </p:blipFill>
        <p:spPr>
          <a:xfrm>
            <a:off x="63068" y="1391712"/>
            <a:ext cx="9733973" cy="3998435"/>
          </a:xfrm>
          <a:prstGeom prst="rect">
            <a:avLst/>
          </a:prstGeom>
        </p:spPr>
      </p:pic>
    </p:spTree>
    <p:extLst>
      <p:ext uri="{BB962C8B-B14F-4D97-AF65-F5344CB8AC3E}">
        <p14:creationId xmlns:p14="http://schemas.microsoft.com/office/powerpoint/2010/main" val="11536004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ea typeface="Arial Unicode MS"/>
                <a:cs typeface="Arial"/>
              </a:rPr>
              <a:t>KPI</a:t>
            </a:r>
            <a:r>
              <a:rPr lang="sk-SK" dirty="0">
                <a:ea typeface="Arial Unicode MS"/>
                <a:cs typeface="Arial"/>
              </a:rPr>
              <a:t> </a:t>
            </a:r>
            <a:r>
              <a:rPr lang="pt-PT" dirty="0">
                <a:ea typeface="Arial Unicode MS"/>
                <a:cs typeface="Arial"/>
              </a:rPr>
              <a:t>7C - </a:t>
            </a:r>
            <a:r>
              <a:rPr lang="en-US" sz="1600">
                <a:ea typeface="Arial Unicode MS"/>
                <a:cs typeface="Arial"/>
              </a:rPr>
              <a:t>Most often used pre-solved </a:t>
            </a:r>
            <a:r>
              <a:rPr lang="en-US">
                <a:ea typeface="Arial Unicode MS"/>
                <a:cs typeface="Arial"/>
              </a:rPr>
              <a:t>CNECs</a:t>
            </a:r>
            <a:r>
              <a:rPr lang="en-US" sz="1600">
                <a:ea typeface="Arial Unicode MS"/>
                <a:cs typeface="Arial"/>
              </a:rPr>
              <a:t>​ </a:t>
            </a:r>
            <a:r>
              <a:rPr lang="en-US" sz="1600" dirty="0">
                <a:ea typeface="Arial Unicode MS"/>
                <a:cs typeface="Arial"/>
              </a:rPr>
              <a:t>​</a:t>
            </a:r>
            <a:endParaRPr lang="hu-HU" dirty="0">
              <a:ea typeface="Arial Unicode MS"/>
              <a:cs typeface="Arial"/>
            </a:endParaRPr>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pre-solved constraints per TSO – CEPS</a:t>
            </a:r>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ACF5ABDA-8659-DFDF-544B-5FFBEAB28BEA}"/>
              </a:ext>
            </a:extLst>
          </p:cNvPr>
          <p:cNvSpPr>
            <a:spLocks noGrp="1"/>
          </p:cNvSpPr>
          <p:nvPr>
            <p:ph type="sldNum" sz="quarter" idx="4"/>
          </p:nvPr>
        </p:nvSpPr>
        <p:spPr/>
        <p:txBody>
          <a:bodyPr/>
          <a:lstStyle/>
          <a:p>
            <a:fld id="{F551322C-20B2-48C3-B63D-68158FEBF630}" type="slidenum">
              <a:rPr lang="en-US" smtClean="0"/>
              <a:pPr/>
              <a:t>35</a:t>
            </a:fld>
            <a:endParaRPr lang="en-GB"/>
          </a:p>
        </p:txBody>
      </p:sp>
      <p:pic>
        <p:nvPicPr>
          <p:cNvPr id="4" name="Tartalom helye 7">
            <a:extLst>
              <a:ext uri="{FF2B5EF4-FFF2-40B4-BE49-F238E27FC236}">
                <a16:creationId xmlns:a16="http://schemas.microsoft.com/office/drawing/2014/main" id="{BA9FC892-083E-0B6D-F851-54A10BEB741C}"/>
              </a:ext>
            </a:extLst>
          </p:cNvPr>
          <p:cNvPicPr>
            <a:picLocks noGrp="1" noChangeAspect="1"/>
          </p:cNvPicPr>
          <p:nvPr>
            <p:ph sz="quarter" idx="17"/>
          </p:nvPr>
        </p:nvPicPr>
        <p:blipFill>
          <a:blip r:embed="rId3"/>
          <a:stretch>
            <a:fillRect/>
          </a:stretch>
        </p:blipFill>
        <p:spPr>
          <a:xfrm>
            <a:off x="181685" y="1276324"/>
            <a:ext cx="9542630" cy="4305351"/>
          </a:xfrm>
          <a:prstGeom prst="rect">
            <a:avLst/>
          </a:prstGeom>
        </p:spPr>
      </p:pic>
    </p:spTree>
    <p:extLst>
      <p:ext uri="{BB962C8B-B14F-4D97-AF65-F5344CB8AC3E}">
        <p14:creationId xmlns:p14="http://schemas.microsoft.com/office/powerpoint/2010/main" val="373294260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ea typeface="Arial Unicode MS"/>
                <a:cs typeface="Arial"/>
              </a:rPr>
              <a:t>KPI</a:t>
            </a:r>
            <a:r>
              <a:rPr lang="sk-SK" dirty="0">
                <a:ea typeface="Arial Unicode MS"/>
                <a:cs typeface="Arial"/>
              </a:rPr>
              <a:t> </a:t>
            </a:r>
            <a:r>
              <a:rPr lang="pt-PT" dirty="0">
                <a:ea typeface="Arial Unicode MS"/>
                <a:cs typeface="Arial"/>
              </a:rPr>
              <a:t>7C - </a:t>
            </a:r>
            <a:r>
              <a:rPr lang="en-US" sz="1600">
                <a:ea typeface="Arial Unicode MS"/>
                <a:cs typeface="Arial"/>
              </a:rPr>
              <a:t>Most often used pre-solved </a:t>
            </a:r>
            <a:r>
              <a:rPr lang="en-US">
                <a:ea typeface="Arial Unicode MS"/>
                <a:cs typeface="Arial"/>
              </a:rPr>
              <a:t>CNECs</a:t>
            </a:r>
            <a:r>
              <a:rPr lang="en-US" sz="1600">
                <a:ea typeface="Arial Unicode MS"/>
                <a:cs typeface="Arial"/>
              </a:rPr>
              <a:t>​ </a:t>
            </a:r>
            <a:r>
              <a:rPr lang="en-US" sz="1600" dirty="0">
                <a:ea typeface="Arial Unicode MS"/>
                <a:cs typeface="Arial"/>
              </a:rPr>
              <a:t>​</a:t>
            </a:r>
            <a:endParaRPr lang="hu-HU" dirty="0">
              <a:ea typeface="Arial Unicode MS"/>
              <a:cs typeface="Arial"/>
            </a:endParaRPr>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pre-solved constraints per TSO – </a:t>
            </a:r>
            <a:r>
              <a:rPr lang="en-US" sz="1400" dirty="0" err="1"/>
              <a:t>Tennet</a:t>
            </a:r>
            <a:r>
              <a:rPr lang="en-US" sz="1400" dirty="0"/>
              <a:t> Germany </a:t>
            </a:r>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D119F49E-BFFF-B175-2D6F-0D5B1FEAF809}"/>
              </a:ext>
            </a:extLst>
          </p:cNvPr>
          <p:cNvSpPr>
            <a:spLocks noGrp="1"/>
          </p:cNvSpPr>
          <p:nvPr>
            <p:ph type="sldNum" sz="quarter" idx="4"/>
          </p:nvPr>
        </p:nvSpPr>
        <p:spPr/>
        <p:txBody>
          <a:bodyPr/>
          <a:lstStyle/>
          <a:p>
            <a:fld id="{F551322C-20B2-48C3-B63D-68158FEBF630}" type="slidenum">
              <a:rPr lang="en-US" smtClean="0"/>
              <a:pPr/>
              <a:t>36</a:t>
            </a:fld>
            <a:endParaRPr lang="en-GB"/>
          </a:p>
        </p:txBody>
      </p:sp>
      <p:pic>
        <p:nvPicPr>
          <p:cNvPr id="4" name="Kép 3">
            <a:extLst>
              <a:ext uri="{FF2B5EF4-FFF2-40B4-BE49-F238E27FC236}">
                <a16:creationId xmlns:a16="http://schemas.microsoft.com/office/drawing/2014/main" id="{4CF5AEF7-2F1F-B188-A302-300BBC06EB6F}"/>
              </a:ext>
            </a:extLst>
          </p:cNvPr>
          <p:cNvPicPr>
            <a:picLocks noChangeAspect="1"/>
          </p:cNvPicPr>
          <p:nvPr/>
        </p:nvPicPr>
        <p:blipFill>
          <a:blip r:embed="rId3"/>
          <a:stretch>
            <a:fillRect/>
          </a:stretch>
        </p:blipFill>
        <p:spPr>
          <a:xfrm>
            <a:off x="0" y="793614"/>
            <a:ext cx="9906000" cy="5270772"/>
          </a:xfrm>
          <a:prstGeom prst="rect">
            <a:avLst/>
          </a:prstGeom>
        </p:spPr>
      </p:pic>
    </p:spTree>
    <p:extLst>
      <p:ext uri="{BB962C8B-B14F-4D97-AF65-F5344CB8AC3E}">
        <p14:creationId xmlns:p14="http://schemas.microsoft.com/office/powerpoint/2010/main" val="9555429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ea typeface="Arial Unicode MS"/>
                <a:cs typeface="Arial"/>
              </a:rPr>
              <a:t>KPI</a:t>
            </a:r>
            <a:r>
              <a:rPr lang="sk-SK" dirty="0">
                <a:ea typeface="Arial Unicode MS"/>
                <a:cs typeface="Arial"/>
              </a:rPr>
              <a:t> </a:t>
            </a:r>
            <a:r>
              <a:rPr lang="pt-PT" dirty="0">
                <a:ea typeface="Arial Unicode MS"/>
                <a:cs typeface="Arial"/>
              </a:rPr>
              <a:t>7C - </a:t>
            </a:r>
            <a:r>
              <a:rPr lang="en-US" sz="1600">
                <a:ea typeface="Arial Unicode MS"/>
                <a:cs typeface="Arial"/>
              </a:rPr>
              <a:t>Most often used pre-solved </a:t>
            </a:r>
            <a:r>
              <a:rPr lang="en-US">
                <a:ea typeface="Arial Unicode MS"/>
                <a:cs typeface="Arial"/>
              </a:rPr>
              <a:t>CNECs</a:t>
            </a:r>
            <a:r>
              <a:rPr lang="en-US" sz="1600">
                <a:ea typeface="Arial Unicode MS"/>
                <a:cs typeface="Arial"/>
              </a:rPr>
              <a:t>​ </a:t>
            </a:r>
            <a:r>
              <a:rPr lang="en-US" sz="1600" dirty="0">
                <a:ea typeface="Arial Unicode MS"/>
                <a:cs typeface="Arial"/>
              </a:rPr>
              <a:t>​</a:t>
            </a:r>
            <a:endParaRPr lang="hu-HU" dirty="0">
              <a:ea typeface="Arial Unicode MS"/>
              <a:cs typeface="Arial"/>
            </a:endParaRPr>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pre-solved constraints per TSO - Transnet </a:t>
            </a:r>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7AC446A5-7E58-BC5F-4408-FA793AE00F80}"/>
              </a:ext>
            </a:extLst>
          </p:cNvPr>
          <p:cNvSpPr>
            <a:spLocks noGrp="1"/>
          </p:cNvSpPr>
          <p:nvPr>
            <p:ph type="sldNum" sz="quarter" idx="4"/>
          </p:nvPr>
        </p:nvSpPr>
        <p:spPr/>
        <p:txBody>
          <a:bodyPr/>
          <a:lstStyle/>
          <a:p>
            <a:fld id="{F551322C-20B2-48C3-B63D-68158FEBF630}" type="slidenum">
              <a:rPr lang="en-US" smtClean="0"/>
              <a:pPr/>
              <a:t>37</a:t>
            </a:fld>
            <a:endParaRPr lang="en-GB"/>
          </a:p>
        </p:txBody>
      </p:sp>
      <p:pic>
        <p:nvPicPr>
          <p:cNvPr id="4" name="Kép 3">
            <a:extLst>
              <a:ext uri="{FF2B5EF4-FFF2-40B4-BE49-F238E27FC236}">
                <a16:creationId xmlns:a16="http://schemas.microsoft.com/office/drawing/2014/main" id="{2E06EC35-E4AD-96EB-1591-00F56AD0BD7E}"/>
              </a:ext>
            </a:extLst>
          </p:cNvPr>
          <p:cNvPicPr>
            <a:picLocks noChangeAspect="1"/>
          </p:cNvPicPr>
          <p:nvPr/>
        </p:nvPicPr>
        <p:blipFill>
          <a:blip r:embed="rId3"/>
          <a:stretch>
            <a:fillRect/>
          </a:stretch>
        </p:blipFill>
        <p:spPr>
          <a:xfrm>
            <a:off x="539999" y="1110482"/>
            <a:ext cx="8991600" cy="5157735"/>
          </a:xfrm>
          <a:prstGeom prst="rect">
            <a:avLst/>
          </a:prstGeom>
        </p:spPr>
      </p:pic>
    </p:spTree>
    <p:extLst>
      <p:ext uri="{BB962C8B-B14F-4D97-AF65-F5344CB8AC3E}">
        <p14:creationId xmlns:p14="http://schemas.microsoft.com/office/powerpoint/2010/main" val="242060712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ea typeface="Arial Unicode MS"/>
                <a:cs typeface="Arial"/>
              </a:rPr>
              <a:t>KPI</a:t>
            </a:r>
            <a:r>
              <a:rPr lang="sk-SK" dirty="0">
                <a:ea typeface="Arial Unicode MS"/>
                <a:cs typeface="Arial"/>
              </a:rPr>
              <a:t> </a:t>
            </a:r>
            <a:r>
              <a:rPr lang="pt-PT" dirty="0">
                <a:ea typeface="Arial Unicode MS"/>
                <a:cs typeface="Arial"/>
              </a:rPr>
              <a:t>7C - </a:t>
            </a:r>
            <a:r>
              <a:rPr lang="en-US" sz="1600">
                <a:ea typeface="Arial Unicode MS"/>
                <a:cs typeface="Arial"/>
              </a:rPr>
              <a:t>Most often used pre-solved </a:t>
            </a:r>
            <a:r>
              <a:rPr lang="en-US">
                <a:ea typeface="Arial Unicode MS"/>
                <a:cs typeface="Arial"/>
              </a:rPr>
              <a:t>CNECs</a:t>
            </a:r>
            <a:r>
              <a:rPr lang="en-US" sz="1600">
                <a:ea typeface="Arial Unicode MS"/>
                <a:cs typeface="Arial"/>
              </a:rPr>
              <a:t>​ </a:t>
            </a:r>
            <a:r>
              <a:rPr lang="en-US" sz="1600" dirty="0">
                <a:ea typeface="Arial Unicode MS"/>
                <a:cs typeface="Arial"/>
              </a:rPr>
              <a:t>​</a:t>
            </a:r>
            <a:endParaRPr lang="hu-HU" dirty="0">
              <a:ea typeface="Arial Unicode MS"/>
              <a:cs typeface="Arial"/>
            </a:endParaRPr>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pre-solved constraints per TSO - </a:t>
            </a:r>
            <a:r>
              <a:rPr lang="en-US" sz="1400" dirty="0" err="1"/>
              <a:t>Amprion</a:t>
            </a:r>
            <a:r>
              <a:rPr lang="en-US" sz="1400" dirty="0"/>
              <a:t> </a:t>
            </a:r>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89098ABC-2B4F-2784-9845-D0FF670953BC}"/>
              </a:ext>
            </a:extLst>
          </p:cNvPr>
          <p:cNvSpPr>
            <a:spLocks noGrp="1"/>
          </p:cNvSpPr>
          <p:nvPr>
            <p:ph type="sldNum" sz="quarter" idx="4"/>
          </p:nvPr>
        </p:nvSpPr>
        <p:spPr/>
        <p:txBody>
          <a:bodyPr/>
          <a:lstStyle/>
          <a:p>
            <a:fld id="{F551322C-20B2-48C3-B63D-68158FEBF630}" type="slidenum">
              <a:rPr lang="en-US" smtClean="0"/>
              <a:pPr/>
              <a:t>38</a:t>
            </a:fld>
            <a:endParaRPr lang="en-GB"/>
          </a:p>
        </p:txBody>
      </p:sp>
      <p:pic>
        <p:nvPicPr>
          <p:cNvPr id="4" name="Kép 3">
            <a:extLst>
              <a:ext uri="{FF2B5EF4-FFF2-40B4-BE49-F238E27FC236}">
                <a16:creationId xmlns:a16="http://schemas.microsoft.com/office/drawing/2014/main" id="{EA9186BA-4208-7260-6D57-1DCBAB864250}"/>
              </a:ext>
            </a:extLst>
          </p:cNvPr>
          <p:cNvPicPr>
            <a:picLocks noChangeAspect="1"/>
          </p:cNvPicPr>
          <p:nvPr/>
        </p:nvPicPr>
        <p:blipFill>
          <a:blip r:embed="rId3"/>
          <a:stretch>
            <a:fillRect/>
          </a:stretch>
        </p:blipFill>
        <p:spPr>
          <a:xfrm>
            <a:off x="0" y="1261698"/>
            <a:ext cx="9906000" cy="4700364"/>
          </a:xfrm>
          <a:prstGeom prst="rect">
            <a:avLst/>
          </a:prstGeom>
        </p:spPr>
      </p:pic>
    </p:spTree>
    <p:extLst>
      <p:ext uri="{BB962C8B-B14F-4D97-AF65-F5344CB8AC3E}">
        <p14:creationId xmlns:p14="http://schemas.microsoft.com/office/powerpoint/2010/main" val="35350633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ea typeface="Arial Unicode MS"/>
                <a:cs typeface="Arial"/>
              </a:rPr>
              <a:t>KPI</a:t>
            </a:r>
            <a:r>
              <a:rPr lang="sk-SK" dirty="0">
                <a:ea typeface="Arial Unicode MS"/>
                <a:cs typeface="Arial"/>
              </a:rPr>
              <a:t> </a:t>
            </a:r>
            <a:r>
              <a:rPr lang="pt-PT" dirty="0">
                <a:ea typeface="Arial Unicode MS"/>
                <a:cs typeface="Arial"/>
              </a:rPr>
              <a:t>7C - </a:t>
            </a:r>
            <a:r>
              <a:rPr lang="en-US" sz="1600">
                <a:ea typeface="Arial Unicode MS"/>
                <a:cs typeface="Arial"/>
              </a:rPr>
              <a:t>Most often used pre-solved </a:t>
            </a:r>
            <a:r>
              <a:rPr lang="en-US">
                <a:ea typeface="Arial Unicode MS"/>
                <a:cs typeface="Arial"/>
              </a:rPr>
              <a:t>CNECs</a:t>
            </a:r>
            <a:r>
              <a:rPr lang="en-US" sz="1600">
                <a:ea typeface="Arial Unicode MS"/>
                <a:cs typeface="Arial"/>
              </a:rPr>
              <a:t>​ </a:t>
            </a:r>
            <a:r>
              <a:rPr lang="en-US" sz="1600" dirty="0">
                <a:ea typeface="Arial Unicode MS"/>
                <a:cs typeface="Arial"/>
              </a:rPr>
              <a:t>​</a:t>
            </a:r>
            <a:endParaRPr lang="hu-HU">
              <a:ea typeface="Arial Unicode MS"/>
              <a:cs typeface="Arial"/>
            </a:endParaRPr>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pre-solved constraints per TSO – 50Hertz </a:t>
            </a:r>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2B5DDE7D-EE51-E086-8985-69CA73D6DD8F}"/>
              </a:ext>
            </a:extLst>
          </p:cNvPr>
          <p:cNvSpPr>
            <a:spLocks noGrp="1"/>
          </p:cNvSpPr>
          <p:nvPr>
            <p:ph type="sldNum" sz="quarter" idx="4"/>
          </p:nvPr>
        </p:nvSpPr>
        <p:spPr/>
        <p:txBody>
          <a:bodyPr/>
          <a:lstStyle/>
          <a:p>
            <a:fld id="{F551322C-20B2-48C3-B63D-68158FEBF630}" type="slidenum">
              <a:rPr lang="en-US" smtClean="0"/>
              <a:pPr/>
              <a:t>39</a:t>
            </a:fld>
            <a:endParaRPr lang="en-GB"/>
          </a:p>
        </p:txBody>
      </p:sp>
      <p:pic>
        <p:nvPicPr>
          <p:cNvPr id="4" name="Kép 3">
            <a:extLst>
              <a:ext uri="{FF2B5EF4-FFF2-40B4-BE49-F238E27FC236}">
                <a16:creationId xmlns:a16="http://schemas.microsoft.com/office/drawing/2014/main" id="{6BBC5ED8-4EDB-A779-7A37-70C5AEBE2228}"/>
              </a:ext>
            </a:extLst>
          </p:cNvPr>
          <p:cNvPicPr>
            <a:picLocks noChangeAspect="1"/>
          </p:cNvPicPr>
          <p:nvPr/>
        </p:nvPicPr>
        <p:blipFill>
          <a:blip r:embed="rId3"/>
          <a:stretch>
            <a:fillRect/>
          </a:stretch>
        </p:blipFill>
        <p:spPr>
          <a:xfrm>
            <a:off x="0" y="821177"/>
            <a:ext cx="9906000" cy="5215646"/>
          </a:xfrm>
          <a:prstGeom prst="rect">
            <a:avLst/>
          </a:prstGeom>
        </p:spPr>
      </p:pic>
    </p:spTree>
    <p:extLst>
      <p:ext uri="{BB962C8B-B14F-4D97-AF65-F5344CB8AC3E}">
        <p14:creationId xmlns:p14="http://schemas.microsoft.com/office/powerpoint/2010/main" val="10162478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0B4E51-4C06-49EB-5D81-6D71BECB9453}"/>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04DAEE4-32A7-DA7C-6202-2A3495B73E3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6ABFB1A0-6C01-0B81-70A6-B217FE61E1E9}"/>
              </a:ext>
            </a:extLst>
          </p:cNvPr>
          <p:cNvSpPr>
            <a:spLocks noGrp="1"/>
          </p:cNvSpPr>
          <p:nvPr>
            <p:ph type="title"/>
          </p:nvPr>
        </p:nvSpPr>
        <p:spPr>
          <a:xfrm>
            <a:off x="539999" y="108000"/>
            <a:ext cx="7044142" cy="336550"/>
          </a:xfrm>
        </p:spPr>
        <p:txBody>
          <a:bodyPr vert="horz"/>
          <a:lstStyle/>
          <a:p>
            <a:r>
              <a:rPr lang="nl-NL" dirty="0" err="1"/>
              <a:t>External</a:t>
            </a:r>
            <a:r>
              <a:rPr lang="nl-NL" dirty="0"/>
              <a:t> // run KPI report</a:t>
            </a:r>
            <a:endParaRPr lang="en-US" dirty="0"/>
          </a:p>
        </p:txBody>
      </p:sp>
      <p:sp>
        <p:nvSpPr>
          <p:cNvPr id="36" name="Content Placeholder 15">
            <a:extLst>
              <a:ext uri="{FF2B5EF4-FFF2-40B4-BE49-F238E27FC236}">
                <a16:creationId xmlns:a16="http://schemas.microsoft.com/office/drawing/2014/main" id="{2A3133F7-0B30-D042-307A-BC9F86E5EC6C}"/>
              </a:ext>
            </a:extLst>
          </p:cNvPr>
          <p:cNvSpPr>
            <a:spLocks noGrp="1"/>
          </p:cNvSpPr>
          <p:nvPr>
            <p:ph type="body" sz="quarter" idx="16"/>
          </p:nvPr>
        </p:nvSpPr>
        <p:spPr>
          <a:xfrm>
            <a:off x="540000" y="461650"/>
            <a:ext cx="8640000" cy="363850"/>
          </a:xfrm>
        </p:spPr>
        <p:txBody>
          <a:bodyPr/>
          <a:lstStyle/>
          <a:p>
            <a:pPr lvl="0"/>
            <a:r>
              <a:rPr lang="en-US" dirty="0"/>
              <a:t>Conclusions</a:t>
            </a:r>
          </a:p>
        </p:txBody>
      </p:sp>
      <p:sp>
        <p:nvSpPr>
          <p:cNvPr id="4" name="Content Placeholder 3">
            <a:extLst>
              <a:ext uri="{FF2B5EF4-FFF2-40B4-BE49-F238E27FC236}">
                <a16:creationId xmlns:a16="http://schemas.microsoft.com/office/drawing/2014/main" id="{B8EB7BA5-FE65-9A4F-5D25-0F6D85A2675A}"/>
              </a:ext>
            </a:extLst>
          </p:cNvPr>
          <p:cNvSpPr>
            <a:spLocks noGrp="1"/>
          </p:cNvSpPr>
          <p:nvPr>
            <p:ph sz="quarter" idx="17"/>
          </p:nvPr>
        </p:nvSpPr>
        <p:spPr>
          <a:xfrm>
            <a:off x="540000" y="1080000"/>
            <a:ext cx="9000000" cy="4320000"/>
          </a:xfrm>
        </p:spPr>
        <p:txBody>
          <a:bodyPr vert="horz" lIns="91440" tIns="45720" rIns="91440" bIns="45720" rtlCol="0" anchor="t">
            <a:noAutofit/>
          </a:bodyPr>
          <a:lstStyle/>
          <a:p>
            <a:pPr lvl="1"/>
            <a:r>
              <a:rPr lang="en-US" dirty="0"/>
              <a:t>Core TSOs are glad to report the current process stability with ~92% of business days successfully completed. </a:t>
            </a:r>
          </a:p>
          <a:p>
            <a:pPr lvl="1"/>
            <a:endParaRPr lang="en-US" dirty="0"/>
          </a:p>
          <a:p>
            <a:pPr lvl="1"/>
            <a:r>
              <a:rPr lang="en-US" dirty="0"/>
              <a:t>According to the ATC related KPIs (ATCs, bidding zone isolation), which compare the available cross-zonal capacities at ~4:30 with and without IDCC(c) run, there is an overall "reflow" effect of the IDCC(c) calculation, in which the available capacity domain space is redistributed across all borders. </a:t>
            </a:r>
          </a:p>
          <a:p>
            <a:pPr lvl="1"/>
            <a:endParaRPr lang="en-US" dirty="0"/>
          </a:p>
          <a:p>
            <a:pPr lvl="1"/>
            <a:r>
              <a:rPr lang="en-US" dirty="0"/>
              <a:t>This results in a lower negative or zero ATC frequency, which leads to less bidding zone isolation frequency. A general decrease of negative ATCs and of bidding zone isolation, means reopening border directions in the IDCC(c) calculation, which were closed during IDCC(b) for longer periods. This decreases the ID ATC levels on other borders (those who would be used if the considered borders were not reopened). Instead of less often open border directions, these are more often open with in general a bit less positive ID ATCs everywhere else.</a:t>
            </a:r>
          </a:p>
          <a:p>
            <a:pPr lvl="1"/>
            <a:r>
              <a:rPr lang="en-US" dirty="0"/>
              <a:t>In short the available capacities are redistributed around the market point, or "reflowed" as we call it.</a:t>
            </a:r>
          </a:p>
          <a:p>
            <a:pPr lvl="1"/>
            <a:endParaRPr lang="en-US" dirty="0"/>
          </a:p>
          <a:p>
            <a:pPr lvl="1"/>
            <a:r>
              <a:rPr lang="en-US" dirty="0"/>
              <a:t>This effect has been quite stable since the start of the parallel run and was expected by experts. It is thus concluded that the parallel run is going according to expectations.</a:t>
            </a:r>
          </a:p>
          <a:p>
            <a:pPr lvl="1"/>
            <a:endParaRPr lang="en-US" dirty="0"/>
          </a:p>
          <a:p>
            <a:pPr lvl="1"/>
            <a:r>
              <a:rPr lang="en-US" dirty="0"/>
              <a:t>Disclaimer: not all TSO's have started performing the individual validation step. This will be resolved soon Core TSOs deem the current // run results representative, thus no significant impact is expected from the deployment of individual validation</a:t>
            </a:r>
          </a:p>
          <a:p>
            <a:pPr lvl="3"/>
            <a:endParaRPr lang="en-US" dirty="0"/>
          </a:p>
        </p:txBody>
      </p:sp>
      <p:sp>
        <p:nvSpPr>
          <p:cNvPr id="6" name="Slide Number Placeholder 5">
            <a:extLst>
              <a:ext uri="{FF2B5EF4-FFF2-40B4-BE49-F238E27FC236}">
                <a16:creationId xmlns:a16="http://schemas.microsoft.com/office/drawing/2014/main" id="{91A78E77-BACB-B0D3-1E53-F6329731BF32}"/>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4</a:t>
            </a:fld>
            <a:endParaRPr lang="en-GB"/>
          </a:p>
        </p:txBody>
      </p:sp>
    </p:spTree>
    <p:extLst>
      <p:ext uri="{BB962C8B-B14F-4D97-AF65-F5344CB8AC3E}">
        <p14:creationId xmlns:p14="http://schemas.microsoft.com/office/powerpoint/2010/main" val="24284456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ea typeface="Arial Unicode MS"/>
                <a:cs typeface="Arial"/>
              </a:rPr>
              <a:t>KPI</a:t>
            </a:r>
            <a:r>
              <a:rPr lang="sk-SK" dirty="0">
                <a:ea typeface="Arial Unicode MS"/>
                <a:cs typeface="Arial"/>
              </a:rPr>
              <a:t> </a:t>
            </a:r>
            <a:r>
              <a:rPr lang="pt-PT" dirty="0">
                <a:ea typeface="Arial Unicode MS"/>
                <a:cs typeface="Arial"/>
              </a:rPr>
              <a:t>7C - </a:t>
            </a:r>
            <a:r>
              <a:rPr lang="en-US" sz="1600">
                <a:ea typeface="Arial Unicode MS"/>
                <a:cs typeface="Arial"/>
              </a:rPr>
              <a:t>Most often used pre-solved </a:t>
            </a:r>
            <a:r>
              <a:rPr lang="en-US">
                <a:ea typeface="Arial Unicode MS"/>
                <a:cs typeface="Arial"/>
              </a:rPr>
              <a:t>CNECs</a:t>
            </a:r>
            <a:r>
              <a:rPr lang="en-US" sz="1600">
                <a:ea typeface="Arial Unicode MS"/>
                <a:cs typeface="Arial"/>
              </a:rPr>
              <a:t>​ </a:t>
            </a:r>
            <a:r>
              <a:rPr lang="en-US" sz="1600" dirty="0">
                <a:ea typeface="Arial Unicode MS"/>
                <a:cs typeface="Arial"/>
              </a:rPr>
              <a:t>​</a:t>
            </a:r>
            <a:endParaRPr lang="hu-HU" dirty="0">
              <a:ea typeface="Arial Unicode MS"/>
              <a:cs typeface="Arial"/>
            </a:endParaRPr>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pre-solved constraints per TSO – RTE</a:t>
            </a:r>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22E8B02C-3935-EC84-0B39-1A27561DF67F}"/>
              </a:ext>
            </a:extLst>
          </p:cNvPr>
          <p:cNvSpPr>
            <a:spLocks noGrp="1"/>
          </p:cNvSpPr>
          <p:nvPr>
            <p:ph type="sldNum" sz="quarter" idx="4"/>
          </p:nvPr>
        </p:nvSpPr>
        <p:spPr/>
        <p:txBody>
          <a:bodyPr/>
          <a:lstStyle/>
          <a:p>
            <a:fld id="{F551322C-20B2-48C3-B63D-68158FEBF630}" type="slidenum">
              <a:rPr lang="en-US" smtClean="0"/>
              <a:pPr/>
              <a:t>40</a:t>
            </a:fld>
            <a:endParaRPr lang="en-GB"/>
          </a:p>
        </p:txBody>
      </p:sp>
      <p:pic>
        <p:nvPicPr>
          <p:cNvPr id="4" name="Kép 3">
            <a:extLst>
              <a:ext uri="{FF2B5EF4-FFF2-40B4-BE49-F238E27FC236}">
                <a16:creationId xmlns:a16="http://schemas.microsoft.com/office/drawing/2014/main" id="{7FE7CC7A-A644-6FBB-94B8-D62434EF2E58}"/>
              </a:ext>
            </a:extLst>
          </p:cNvPr>
          <p:cNvPicPr>
            <a:picLocks noChangeAspect="1"/>
          </p:cNvPicPr>
          <p:nvPr/>
        </p:nvPicPr>
        <p:blipFill>
          <a:blip r:embed="rId3"/>
          <a:stretch>
            <a:fillRect/>
          </a:stretch>
        </p:blipFill>
        <p:spPr>
          <a:xfrm>
            <a:off x="389748" y="1147239"/>
            <a:ext cx="9126503" cy="5249111"/>
          </a:xfrm>
          <a:prstGeom prst="rect">
            <a:avLst/>
          </a:prstGeom>
        </p:spPr>
      </p:pic>
    </p:spTree>
    <p:extLst>
      <p:ext uri="{BB962C8B-B14F-4D97-AF65-F5344CB8AC3E}">
        <p14:creationId xmlns:p14="http://schemas.microsoft.com/office/powerpoint/2010/main" val="164514066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ea typeface="Arial Unicode MS"/>
                <a:cs typeface="Arial"/>
              </a:rPr>
              <a:t>KPI</a:t>
            </a:r>
            <a:r>
              <a:rPr lang="sk-SK" dirty="0">
                <a:ea typeface="Arial Unicode MS"/>
                <a:cs typeface="Arial"/>
              </a:rPr>
              <a:t> </a:t>
            </a:r>
            <a:r>
              <a:rPr lang="pt-PT" dirty="0">
                <a:ea typeface="Arial Unicode MS"/>
                <a:cs typeface="Arial"/>
              </a:rPr>
              <a:t>7C - </a:t>
            </a:r>
            <a:r>
              <a:rPr lang="en-US" sz="1600">
                <a:ea typeface="Arial Unicode MS"/>
                <a:cs typeface="Arial"/>
              </a:rPr>
              <a:t>Most often used pre-solved </a:t>
            </a:r>
            <a:r>
              <a:rPr lang="en-US">
                <a:ea typeface="Arial Unicode MS"/>
                <a:cs typeface="Arial"/>
              </a:rPr>
              <a:t>CNECs</a:t>
            </a:r>
            <a:r>
              <a:rPr lang="en-US" sz="1600">
                <a:ea typeface="Arial Unicode MS"/>
                <a:cs typeface="Arial"/>
              </a:rPr>
              <a:t>​ </a:t>
            </a:r>
            <a:r>
              <a:rPr lang="en-US" sz="1600" dirty="0">
                <a:ea typeface="Arial Unicode MS"/>
                <a:cs typeface="Arial"/>
              </a:rPr>
              <a:t>​</a:t>
            </a:r>
            <a:endParaRPr lang="hu-HU" dirty="0">
              <a:ea typeface="Arial Unicode MS"/>
              <a:cs typeface="Arial"/>
            </a:endParaRPr>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pre-solved constraints per TSO – HOPS</a:t>
            </a:r>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8E19683F-84BC-83F3-DC95-1A3252AA9E10}"/>
              </a:ext>
            </a:extLst>
          </p:cNvPr>
          <p:cNvSpPr>
            <a:spLocks noGrp="1"/>
          </p:cNvSpPr>
          <p:nvPr>
            <p:ph type="sldNum" sz="quarter" idx="4"/>
          </p:nvPr>
        </p:nvSpPr>
        <p:spPr/>
        <p:txBody>
          <a:bodyPr/>
          <a:lstStyle/>
          <a:p>
            <a:fld id="{F551322C-20B2-48C3-B63D-68158FEBF630}" type="slidenum">
              <a:rPr lang="en-US" smtClean="0"/>
              <a:pPr/>
              <a:t>41</a:t>
            </a:fld>
            <a:endParaRPr lang="en-GB"/>
          </a:p>
        </p:txBody>
      </p:sp>
      <p:pic>
        <p:nvPicPr>
          <p:cNvPr id="4" name="Kép 3">
            <a:extLst>
              <a:ext uri="{FF2B5EF4-FFF2-40B4-BE49-F238E27FC236}">
                <a16:creationId xmlns:a16="http://schemas.microsoft.com/office/drawing/2014/main" id="{257FE502-EC8D-B1C8-2350-0C995059E2A4}"/>
              </a:ext>
            </a:extLst>
          </p:cNvPr>
          <p:cNvPicPr>
            <a:picLocks noChangeAspect="1"/>
          </p:cNvPicPr>
          <p:nvPr/>
        </p:nvPicPr>
        <p:blipFill>
          <a:blip r:embed="rId3"/>
          <a:stretch>
            <a:fillRect/>
          </a:stretch>
        </p:blipFill>
        <p:spPr>
          <a:xfrm>
            <a:off x="539999" y="1334616"/>
            <a:ext cx="9013634" cy="4934168"/>
          </a:xfrm>
          <a:prstGeom prst="rect">
            <a:avLst/>
          </a:prstGeom>
        </p:spPr>
      </p:pic>
    </p:spTree>
    <p:extLst>
      <p:ext uri="{BB962C8B-B14F-4D97-AF65-F5344CB8AC3E}">
        <p14:creationId xmlns:p14="http://schemas.microsoft.com/office/powerpoint/2010/main" val="269885025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ea typeface="Arial Unicode MS"/>
                <a:cs typeface="Arial"/>
              </a:rPr>
              <a:t>KPI</a:t>
            </a:r>
            <a:r>
              <a:rPr lang="sk-SK" dirty="0">
                <a:ea typeface="Arial Unicode MS"/>
                <a:cs typeface="Arial"/>
              </a:rPr>
              <a:t> </a:t>
            </a:r>
            <a:r>
              <a:rPr lang="pt-PT" dirty="0">
                <a:ea typeface="Arial Unicode MS"/>
                <a:cs typeface="Arial"/>
              </a:rPr>
              <a:t>7C - </a:t>
            </a:r>
            <a:r>
              <a:rPr lang="en-US" sz="1600">
                <a:ea typeface="Arial Unicode MS"/>
                <a:cs typeface="Arial"/>
              </a:rPr>
              <a:t>Most often used pre-solved </a:t>
            </a:r>
            <a:r>
              <a:rPr lang="en-US">
                <a:ea typeface="Arial Unicode MS"/>
                <a:cs typeface="Arial"/>
              </a:rPr>
              <a:t>CNECs</a:t>
            </a:r>
            <a:r>
              <a:rPr lang="en-US" sz="1600">
                <a:ea typeface="Arial Unicode MS"/>
                <a:cs typeface="Arial"/>
              </a:rPr>
              <a:t>​ </a:t>
            </a:r>
            <a:r>
              <a:rPr lang="en-US" sz="1600" dirty="0">
                <a:ea typeface="Arial Unicode MS"/>
                <a:cs typeface="Arial"/>
              </a:rPr>
              <a:t>​</a:t>
            </a:r>
            <a:endParaRPr lang="hu-HU" dirty="0">
              <a:ea typeface="Arial Unicode MS"/>
              <a:cs typeface="Arial"/>
            </a:endParaRPr>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pre-solved constraints per TSO – MAVIR</a:t>
            </a:r>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643BAB6E-03CA-B2DD-B819-CA3A46326443}"/>
              </a:ext>
            </a:extLst>
          </p:cNvPr>
          <p:cNvSpPr>
            <a:spLocks noGrp="1"/>
          </p:cNvSpPr>
          <p:nvPr>
            <p:ph type="sldNum" sz="quarter" idx="4"/>
          </p:nvPr>
        </p:nvSpPr>
        <p:spPr/>
        <p:txBody>
          <a:bodyPr/>
          <a:lstStyle/>
          <a:p>
            <a:fld id="{F551322C-20B2-48C3-B63D-68158FEBF630}" type="slidenum">
              <a:rPr lang="en-US" smtClean="0"/>
              <a:pPr/>
              <a:t>42</a:t>
            </a:fld>
            <a:endParaRPr lang="en-GB"/>
          </a:p>
        </p:txBody>
      </p:sp>
      <p:pic>
        <p:nvPicPr>
          <p:cNvPr id="4" name="Kép 3">
            <a:extLst>
              <a:ext uri="{FF2B5EF4-FFF2-40B4-BE49-F238E27FC236}">
                <a16:creationId xmlns:a16="http://schemas.microsoft.com/office/drawing/2014/main" id="{C24B234C-C20E-3758-E019-E75F06067794}"/>
              </a:ext>
            </a:extLst>
          </p:cNvPr>
          <p:cNvPicPr>
            <a:picLocks noChangeAspect="1"/>
          </p:cNvPicPr>
          <p:nvPr/>
        </p:nvPicPr>
        <p:blipFill>
          <a:blip r:embed="rId3"/>
          <a:stretch>
            <a:fillRect/>
          </a:stretch>
        </p:blipFill>
        <p:spPr>
          <a:xfrm>
            <a:off x="275077" y="1164524"/>
            <a:ext cx="9355845" cy="4793269"/>
          </a:xfrm>
          <a:prstGeom prst="rect">
            <a:avLst/>
          </a:prstGeom>
        </p:spPr>
      </p:pic>
    </p:spTree>
    <p:extLst>
      <p:ext uri="{BB962C8B-B14F-4D97-AF65-F5344CB8AC3E}">
        <p14:creationId xmlns:p14="http://schemas.microsoft.com/office/powerpoint/2010/main" val="64179384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ea typeface="Arial Unicode MS"/>
                <a:cs typeface="Arial"/>
              </a:rPr>
              <a:t>KPI</a:t>
            </a:r>
            <a:r>
              <a:rPr lang="sk-SK" dirty="0">
                <a:ea typeface="Arial Unicode MS"/>
                <a:cs typeface="Arial"/>
              </a:rPr>
              <a:t> </a:t>
            </a:r>
            <a:r>
              <a:rPr lang="pt-PT" dirty="0">
                <a:ea typeface="Arial Unicode MS"/>
                <a:cs typeface="Arial"/>
              </a:rPr>
              <a:t>7C - </a:t>
            </a:r>
            <a:r>
              <a:rPr lang="en-US" sz="1600">
                <a:ea typeface="Arial Unicode MS"/>
                <a:cs typeface="Arial"/>
              </a:rPr>
              <a:t>Most often used pre-solved </a:t>
            </a:r>
            <a:r>
              <a:rPr lang="en-US">
                <a:ea typeface="Arial Unicode MS"/>
                <a:cs typeface="Arial"/>
              </a:rPr>
              <a:t>CNECs</a:t>
            </a:r>
            <a:r>
              <a:rPr lang="en-US" sz="1600">
                <a:ea typeface="Arial Unicode MS"/>
                <a:cs typeface="Arial"/>
              </a:rPr>
              <a:t>​ </a:t>
            </a:r>
            <a:r>
              <a:rPr lang="en-US" sz="1600" dirty="0">
                <a:ea typeface="Arial Unicode MS"/>
                <a:cs typeface="Arial"/>
              </a:rPr>
              <a:t>​</a:t>
            </a:r>
            <a:endParaRPr lang="hu-HU" dirty="0">
              <a:ea typeface="Arial Unicode MS"/>
              <a:cs typeface="Arial"/>
            </a:endParaRPr>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pre-solved constraints per TSO – </a:t>
            </a:r>
            <a:r>
              <a:rPr lang="en-US" dirty="0" err="1"/>
              <a:t>Tennet</a:t>
            </a:r>
            <a:r>
              <a:rPr lang="en-US" dirty="0"/>
              <a:t> Netherlands</a:t>
            </a:r>
            <a:endParaRPr lang="en-US" sz="1400" dirty="0"/>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B2FE8D51-FA86-32B1-5978-D0843E376AAB}"/>
              </a:ext>
            </a:extLst>
          </p:cNvPr>
          <p:cNvSpPr>
            <a:spLocks noGrp="1"/>
          </p:cNvSpPr>
          <p:nvPr>
            <p:ph type="sldNum" sz="quarter" idx="4"/>
          </p:nvPr>
        </p:nvSpPr>
        <p:spPr/>
        <p:txBody>
          <a:bodyPr/>
          <a:lstStyle/>
          <a:p>
            <a:fld id="{F551322C-20B2-48C3-B63D-68158FEBF630}" type="slidenum">
              <a:rPr lang="en-US" smtClean="0"/>
              <a:pPr/>
              <a:t>43</a:t>
            </a:fld>
            <a:endParaRPr lang="en-GB"/>
          </a:p>
        </p:txBody>
      </p:sp>
      <p:pic>
        <p:nvPicPr>
          <p:cNvPr id="4" name="Kép 3">
            <a:extLst>
              <a:ext uri="{FF2B5EF4-FFF2-40B4-BE49-F238E27FC236}">
                <a16:creationId xmlns:a16="http://schemas.microsoft.com/office/drawing/2014/main" id="{2F79E276-5978-F58E-4829-D4C3EB218D4B}"/>
              </a:ext>
            </a:extLst>
          </p:cNvPr>
          <p:cNvPicPr>
            <a:picLocks noChangeAspect="1"/>
          </p:cNvPicPr>
          <p:nvPr/>
        </p:nvPicPr>
        <p:blipFill>
          <a:blip r:embed="rId3"/>
          <a:stretch>
            <a:fillRect/>
          </a:stretch>
        </p:blipFill>
        <p:spPr>
          <a:xfrm>
            <a:off x="0" y="1160420"/>
            <a:ext cx="9906000" cy="4537160"/>
          </a:xfrm>
          <a:prstGeom prst="rect">
            <a:avLst/>
          </a:prstGeom>
        </p:spPr>
      </p:pic>
    </p:spTree>
    <p:extLst>
      <p:ext uri="{BB962C8B-B14F-4D97-AF65-F5344CB8AC3E}">
        <p14:creationId xmlns:p14="http://schemas.microsoft.com/office/powerpoint/2010/main" val="206123750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ea typeface="Arial Unicode MS"/>
                <a:cs typeface="Arial"/>
              </a:rPr>
              <a:t>KPI</a:t>
            </a:r>
            <a:r>
              <a:rPr lang="sk-SK" dirty="0">
                <a:ea typeface="Arial Unicode MS"/>
                <a:cs typeface="Arial"/>
              </a:rPr>
              <a:t> </a:t>
            </a:r>
            <a:r>
              <a:rPr lang="pt-PT" dirty="0">
                <a:ea typeface="Arial Unicode MS"/>
                <a:cs typeface="Arial"/>
              </a:rPr>
              <a:t>7C - </a:t>
            </a:r>
            <a:r>
              <a:rPr lang="en-US" sz="1600">
                <a:ea typeface="Arial Unicode MS"/>
                <a:cs typeface="Arial"/>
              </a:rPr>
              <a:t>Most often used pre-solved </a:t>
            </a:r>
            <a:r>
              <a:rPr lang="en-US">
                <a:ea typeface="Arial Unicode MS"/>
                <a:cs typeface="Arial"/>
              </a:rPr>
              <a:t>CNECs</a:t>
            </a:r>
            <a:r>
              <a:rPr lang="en-US" sz="1600">
                <a:ea typeface="Arial Unicode MS"/>
                <a:cs typeface="Arial"/>
              </a:rPr>
              <a:t>​ </a:t>
            </a:r>
            <a:r>
              <a:rPr lang="en-US" sz="1600" dirty="0">
                <a:ea typeface="Arial Unicode MS"/>
                <a:cs typeface="Arial"/>
              </a:rPr>
              <a:t>​</a:t>
            </a:r>
            <a:endParaRPr lang="hu-HU" dirty="0">
              <a:ea typeface="Arial Unicode MS"/>
              <a:cs typeface="Arial"/>
            </a:endParaRPr>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pre-solved constraints per TSO – </a:t>
            </a:r>
            <a:r>
              <a:rPr lang="en-US" dirty="0"/>
              <a:t>PSE</a:t>
            </a:r>
            <a:endParaRPr lang="en-US" sz="1400" dirty="0"/>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9C81BCC9-0A4F-E80F-8354-B3B040E7C86F}"/>
              </a:ext>
            </a:extLst>
          </p:cNvPr>
          <p:cNvSpPr>
            <a:spLocks noGrp="1"/>
          </p:cNvSpPr>
          <p:nvPr>
            <p:ph type="sldNum" sz="quarter" idx="4"/>
          </p:nvPr>
        </p:nvSpPr>
        <p:spPr/>
        <p:txBody>
          <a:bodyPr/>
          <a:lstStyle/>
          <a:p>
            <a:fld id="{F551322C-20B2-48C3-B63D-68158FEBF630}" type="slidenum">
              <a:rPr lang="en-US" smtClean="0"/>
              <a:pPr/>
              <a:t>44</a:t>
            </a:fld>
            <a:endParaRPr lang="en-GB"/>
          </a:p>
        </p:txBody>
      </p:sp>
      <p:pic>
        <p:nvPicPr>
          <p:cNvPr id="4" name="Kép 3">
            <a:extLst>
              <a:ext uri="{FF2B5EF4-FFF2-40B4-BE49-F238E27FC236}">
                <a16:creationId xmlns:a16="http://schemas.microsoft.com/office/drawing/2014/main" id="{5E993B18-BB8A-B0C0-B990-28DD5FBA99AD}"/>
              </a:ext>
            </a:extLst>
          </p:cNvPr>
          <p:cNvPicPr>
            <a:picLocks noChangeAspect="1"/>
          </p:cNvPicPr>
          <p:nvPr/>
        </p:nvPicPr>
        <p:blipFill>
          <a:blip r:embed="rId3"/>
          <a:stretch>
            <a:fillRect/>
          </a:stretch>
        </p:blipFill>
        <p:spPr>
          <a:xfrm>
            <a:off x="0" y="1161748"/>
            <a:ext cx="9906000" cy="4534504"/>
          </a:xfrm>
          <a:prstGeom prst="rect">
            <a:avLst/>
          </a:prstGeom>
        </p:spPr>
      </p:pic>
    </p:spTree>
    <p:extLst>
      <p:ext uri="{BB962C8B-B14F-4D97-AF65-F5344CB8AC3E}">
        <p14:creationId xmlns:p14="http://schemas.microsoft.com/office/powerpoint/2010/main" val="57519180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ea typeface="Arial Unicode MS"/>
                <a:cs typeface="Arial"/>
              </a:rPr>
              <a:t>KPI</a:t>
            </a:r>
            <a:r>
              <a:rPr lang="sk-SK" dirty="0">
                <a:ea typeface="Arial Unicode MS"/>
                <a:cs typeface="Arial"/>
              </a:rPr>
              <a:t> </a:t>
            </a:r>
            <a:r>
              <a:rPr lang="pt-PT" dirty="0">
                <a:ea typeface="Arial Unicode MS"/>
                <a:cs typeface="Arial"/>
              </a:rPr>
              <a:t>7C - </a:t>
            </a:r>
            <a:r>
              <a:rPr lang="en-US" sz="1600">
                <a:ea typeface="Arial Unicode MS"/>
                <a:cs typeface="Arial"/>
              </a:rPr>
              <a:t>Most often used pre-solved </a:t>
            </a:r>
            <a:r>
              <a:rPr lang="en-US">
                <a:ea typeface="Arial Unicode MS"/>
                <a:cs typeface="Arial"/>
              </a:rPr>
              <a:t>CNECs</a:t>
            </a:r>
            <a:r>
              <a:rPr lang="en-US" sz="1600">
                <a:ea typeface="Arial Unicode MS"/>
                <a:cs typeface="Arial"/>
              </a:rPr>
              <a:t>​ </a:t>
            </a:r>
            <a:r>
              <a:rPr lang="en-US" sz="1600" dirty="0">
                <a:ea typeface="Arial Unicode MS"/>
                <a:cs typeface="Arial"/>
              </a:rPr>
              <a:t>​</a:t>
            </a:r>
            <a:endParaRPr lang="hu-HU" dirty="0">
              <a:ea typeface="Arial Unicode MS"/>
              <a:cs typeface="Arial"/>
            </a:endParaRPr>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pre-solved constraints per TSO – </a:t>
            </a:r>
            <a:r>
              <a:rPr lang="en-US" dirty="0" err="1"/>
              <a:t>Transeletrica</a:t>
            </a:r>
            <a:endParaRPr lang="en-US" sz="1400" dirty="0"/>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7441D5DA-05E8-043D-2823-256A6D0C53D5}"/>
              </a:ext>
            </a:extLst>
          </p:cNvPr>
          <p:cNvSpPr>
            <a:spLocks noGrp="1"/>
          </p:cNvSpPr>
          <p:nvPr>
            <p:ph type="sldNum" sz="quarter" idx="4"/>
          </p:nvPr>
        </p:nvSpPr>
        <p:spPr/>
        <p:txBody>
          <a:bodyPr/>
          <a:lstStyle/>
          <a:p>
            <a:fld id="{F551322C-20B2-48C3-B63D-68158FEBF630}" type="slidenum">
              <a:rPr lang="en-US" smtClean="0"/>
              <a:pPr/>
              <a:t>45</a:t>
            </a:fld>
            <a:endParaRPr lang="en-GB"/>
          </a:p>
        </p:txBody>
      </p:sp>
      <p:pic>
        <p:nvPicPr>
          <p:cNvPr id="4" name="Kép 3">
            <a:extLst>
              <a:ext uri="{FF2B5EF4-FFF2-40B4-BE49-F238E27FC236}">
                <a16:creationId xmlns:a16="http://schemas.microsoft.com/office/drawing/2014/main" id="{04BD5D62-17C0-968B-1717-771D8FC8A166}"/>
              </a:ext>
            </a:extLst>
          </p:cNvPr>
          <p:cNvPicPr>
            <a:picLocks noChangeAspect="1"/>
          </p:cNvPicPr>
          <p:nvPr/>
        </p:nvPicPr>
        <p:blipFill>
          <a:blip r:embed="rId3"/>
          <a:stretch>
            <a:fillRect/>
          </a:stretch>
        </p:blipFill>
        <p:spPr>
          <a:xfrm>
            <a:off x="0" y="939701"/>
            <a:ext cx="9906000" cy="4978597"/>
          </a:xfrm>
          <a:prstGeom prst="rect">
            <a:avLst/>
          </a:prstGeom>
        </p:spPr>
      </p:pic>
    </p:spTree>
    <p:extLst>
      <p:ext uri="{BB962C8B-B14F-4D97-AF65-F5344CB8AC3E}">
        <p14:creationId xmlns:p14="http://schemas.microsoft.com/office/powerpoint/2010/main" val="54166349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ea typeface="Arial Unicode MS"/>
                <a:cs typeface="Arial"/>
              </a:rPr>
              <a:t>KPI</a:t>
            </a:r>
            <a:r>
              <a:rPr lang="sk-SK" dirty="0">
                <a:ea typeface="Arial Unicode MS"/>
                <a:cs typeface="Arial"/>
              </a:rPr>
              <a:t> </a:t>
            </a:r>
            <a:r>
              <a:rPr lang="pt-PT" dirty="0">
                <a:ea typeface="Arial Unicode MS"/>
                <a:cs typeface="Arial"/>
              </a:rPr>
              <a:t>7C - </a:t>
            </a:r>
            <a:r>
              <a:rPr lang="en-US" sz="1600">
                <a:ea typeface="Arial Unicode MS"/>
                <a:cs typeface="Arial"/>
              </a:rPr>
              <a:t>Most often used pre-solved </a:t>
            </a:r>
            <a:r>
              <a:rPr lang="en-US">
                <a:ea typeface="Arial Unicode MS"/>
                <a:cs typeface="Arial"/>
              </a:rPr>
              <a:t>CNECs</a:t>
            </a:r>
            <a:r>
              <a:rPr lang="en-US" sz="1600">
                <a:ea typeface="Arial Unicode MS"/>
                <a:cs typeface="Arial"/>
              </a:rPr>
              <a:t>​ </a:t>
            </a:r>
            <a:r>
              <a:rPr lang="en-US" sz="1600" dirty="0">
                <a:ea typeface="Arial Unicode MS"/>
                <a:cs typeface="Arial"/>
              </a:rPr>
              <a:t>​</a:t>
            </a:r>
            <a:endParaRPr lang="hu-HU" dirty="0">
              <a:ea typeface="Arial Unicode MS"/>
              <a:cs typeface="Arial"/>
            </a:endParaRPr>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pre-solved constraints per TSO – ELES</a:t>
            </a:r>
          </a:p>
          <a:p>
            <a:endParaRPr lang="en-US" sz="1400" dirty="0"/>
          </a:p>
          <a:p>
            <a:endParaRPr lang="en-US" dirty="0"/>
          </a:p>
          <a:p>
            <a:endParaRPr lang="hu-HU" dirty="0"/>
          </a:p>
        </p:txBody>
      </p:sp>
      <p:sp>
        <p:nvSpPr>
          <p:cNvPr id="6" name="Slide Number Placeholder 5">
            <a:extLst>
              <a:ext uri="{FF2B5EF4-FFF2-40B4-BE49-F238E27FC236}">
                <a16:creationId xmlns:a16="http://schemas.microsoft.com/office/drawing/2014/main" id="{EA2B4DBE-B9EA-3484-B8EF-6C2C57A090A6}"/>
              </a:ext>
            </a:extLst>
          </p:cNvPr>
          <p:cNvSpPr>
            <a:spLocks noGrp="1"/>
          </p:cNvSpPr>
          <p:nvPr>
            <p:ph type="sldNum" sz="quarter" idx="4"/>
          </p:nvPr>
        </p:nvSpPr>
        <p:spPr/>
        <p:txBody>
          <a:bodyPr/>
          <a:lstStyle/>
          <a:p>
            <a:fld id="{F551322C-20B2-48C3-B63D-68158FEBF630}" type="slidenum">
              <a:rPr lang="en-US" smtClean="0"/>
              <a:pPr/>
              <a:t>46</a:t>
            </a:fld>
            <a:endParaRPr lang="en-GB"/>
          </a:p>
        </p:txBody>
      </p:sp>
      <p:pic>
        <p:nvPicPr>
          <p:cNvPr id="4" name="Kép 3">
            <a:extLst>
              <a:ext uri="{FF2B5EF4-FFF2-40B4-BE49-F238E27FC236}">
                <a16:creationId xmlns:a16="http://schemas.microsoft.com/office/drawing/2014/main" id="{94D72EA4-6FF5-D5B0-F27D-CCD627A46DA8}"/>
              </a:ext>
            </a:extLst>
          </p:cNvPr>
          <p:cNvPicPr>
            <a:picLocks noChangeAspect="1"/>
          </p:cNvPicPr>
          <p:nvPr/>
        </p:nvPicPr>
        <p:blipFill>
          <a:blip r:embed="rId3"/>
          <a:stretch>
            <a:fillRect/>
          </a:stretch>
        </p:blipFill>
        <p:spPr>
          <a:xfrm>
            <a:off x="643580" y="1246057"/>
            <a:ext cx="8376895" cy="4717536"/>
          </a:xfrm>
          <a:prstGeom prst="rect">
            <a:avLst/>
          </a:prstGeom>
        </p:spPr>
      </p:pic>
    </p:spTree>
    <p:extLst>
      <p:ext uri="{BB962C8B-B14F-4D97-AF65-F5344CB8AC3E}">
        <p14:creationId xmlns:p14="http://schemas.microsoft.com/office/powerpoint/2010/main" val="146437254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ea typeface="Arial Unicode MS"/>
                <a:cs typeface="Arial"/>
              </a:rPr>
              <a:t>KPI</a:t>
            </a:r>
            <a:r>
              <a:rPr lang="sk-SK" dirty="0">
                <a:ea typeface="Arial Unicode MS"/>
                <a:cs typeface="Arial"/>
              </a:rPr>
              <a:t> </a:t>
            </a:r>
            <a:r>
              <a:rPr lang="pt-PT" dirty="0">
                <a:ea typeface="Arial Unicode MS"/>
                <a:cs typeface="Arial"/>
              </a:rPr>
              <a:t>7C - </a:t>
            </a:r>
            <a:r>
              <a:rPr lang="en-US" sz="1600">
                <a:ea typeface="Arial Unicode MS"/>
                <a:cs typeface="Arial"/>
              </a:rPr>
              <a:t>Most often used pre-solved </a:t>
            </a:r>
            <a:r>
              <a:rPr lang="en-US">
                <a:ea typeface="Arial Unicode MS"/>
                <a:cs typeface="Arial"/>
              </a:rPr>
              <a:t>CNECs</a:t>
            </a:r>
            <a:r>
              <a:rPr lang="en-US" sz="1600">
                <a:ea typeface="Arial Unicode MS"/>
                <a:cs typeface="Arial"/>
              </a:rPr>
              <a:t>​ </a:t>
            </a:r>
            <a:r>
              <a:rPr lang="en-US" sz="1600" dirty="0">
                <a:ea typeface="Arial Unicode MS"/>
                <a:cs typeface="Arial"/>
              </a:rPr>
              <a:t>​</a:t>
            </a:r>
            <a:endParaRPr lang="hu-HU" dirty="0">
              <a:ea typeface="Arial Unicode MS"/>
              <a:cs typeface="Arial"/>
            </a:endParaRPr>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pre-solved constraints per TSO - SEPS </a:t>
            </a:r>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46F41A66-5354-8A5A-2B5E-5292B8E72FA9}"/>
              </a:ext>
            </a:extLst>
          </p:cNvPr>
          <p:cNvSpPr>
            <a:spLocks noGrp="1"/>
          </p:cNvSpPr>
          <p:nvPr>
            <p:ph type="sldNum" sz="quarter" idx="4"/>
          </p:nvPr>
        </p:nvSpPr>
        <p:spPr/>
        <p:txBody>
          <a:bodyPr/>
          <a:lstStyle/>
          <a:p>
            <a:fld id="{F551322C-20B2-48C3-B63D-68158FEBF630}" type="slidenum">
              <a:rPr lang="en-US" smtClean="0"/>
              <a:pPr/>
              <a:t>47</a:t>
            </a:fld>
            <a:endParaRPr lang="en-GB"/>
          </a:p>
        </p:txBody>
      </p:sp>
      <p:pic>
        <p:nvPicPr>
          <p:cNvPr id="4" name="Kép 3">
            <a:extLst>
              <a:ext uri="{FF2B5EF4-FFF2-40B4-BE49-F238E27FC236}">
                <a16:creationId xmlns:a16="http://schemas.microsoft.com/office/drawing/2014/main" id="{BEBB3ED4-9CF5-AF04-ED36-6D98D6C5473B}"/>
              </a:ext>
            </a:extLst>
          </p:cNvPr>
          <p:cNvPicPr>
            <a:picLocks noChangeAspect="1"/>
          </p:cNvPicPr>
          <p:nvPr/>
        </p:nvPicPr>
        <p:blipFill>
          <a:blip r:embed="rId3"/>
          <a:stretch>
            <a:fillRect/>
          </a:stretch>
        </p:blipFill>
        <p:spPr>
          <a:xfrm>
            <a:off x="0" y="1099141"/>
            <a:ext cx="9906000" cy="4659717"/>
          </a:xfrm>
          <a:prstGeom prst="rect">
            <a:avLst/>
          </a:prstGeom>
        </p:spPr>
      </p:pic>
    </p:spTree>
    <p:extLst>
      <p:ext uri="{BB962C8B-B14F-4D97-AF65-F5344CB8AC3E}">
        <p14:creationId xmlns:p14="http://schemas.microsoft.com/office/powerpoint/2010/main" val="394100473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extLst>
              <p:ext uri="{D42A27DB-BD31-4B8C-83A1-F6EECF244321}">
                <p14:modId xmlns:p14="http://schemas.microsoft.com/office/powerpoint/2010/main" val="1017431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A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FB domain – </a:t>
            </a:r>
            <a:r>
              <a:rPr lang="hu-HU" sz="1400" dirty="0" err="1"/>
              <a:t>Austria</a:t>
            </a:r>
            <a:endParaRPr lang="nl-NL" dirty="0"/>
          </a:p>
          <a:p>
            <a:endParaRPr lang="hu-HU" dirty="0"/>
          </a:p>
        </p:txBody>
      </p:sp>
      <p:sp>
        <p:nvSpPr>
          <p:cNvPr id="5" name="Slide Number Placeholder 4">
            <a:extLst>
              <a:ext uri="{FF2B5EF4-FFF2-40B4-BE49-F238E27FC236}">
                <a16:creationId xmlns:a16="http://schemas.microsoft.com/office/drawing/2014/main" id="{D146C1F7-9CD9-98BB-2375-82A35A1B8D34}"/>
              </a:ext>
            </a:extLst>
          </p:cNvPr>
          <p:cNvSpPr>
            <a:spLocks noGrp="1"/>
          </p:cNvSpPr>
          <p:nvPr>
            <p:ph type="sldNum" sz="quarter" idx="4"/>
          </p:nvPr>
        </p:nvSpPr>
        <p:spPr/>
        <p:txBody>
          <a:bodyPr/>
          <a:lstStyle/>
          <a:p>
            <a:fld id="{F551322C-20B2-48C3-B63D-68158FEBF630}" type="slidenum">
              <a:rPr lang="en-US" smtClean="0"/>
              <a:pPr/>
              <a:t>48</a:t>
            </a:fld>
            <a:endParaRPr lang="en-GB"/>
          </a:p>
        </p:txBody>
      </p:sp>
      <p:pic>
        <p:nvPicPr>
          <p:cNvPr id="4" name="slide_image">
            <a:extLst>
              <a:ext uri="{FF2B5EF4-FFF2-40B4-BE49-F238E27FC236}">
                <a16:creationId xmlns:a16="http://schemas.microsoft.com/office/drawing/2014/main" id="{A4A6B13D-3154-932C-DA40-644DD68C7189}"/>
              </a:ext>
            </a:extLst>
          </p:cNvPr>
          <p:cNvPicPr>
            <a:picLocks noChangeAspect="1"/>
          </p:cNvPicPr>
          <p:nvPr/>
        </p:nvPicPr>
        <p:blipFill>
          <a:blip r:embed="rId5"/>
          <a:stretch>
            <a:fillRect/>
          </a:stretch>
        </p:blipFill>
        <p:spPr>
          <a:xfrm>
            <a:off x="-1" y="862724"/>
            <a:ext cx="9909221" cy="3844030"/>
          </a:xfrm>
          <a:prstGeom prst="rect">
            <a:avLst/>
          </a:prstGeom>
        </p:spPr>
      </p:pic>
    </p:spTree>
    <p:extLst>
      <p:ext uri="{BB962C8B-B14F-4D97-AF65-F5344CB8AC3E}">
        <p14:creationId xmlns:p14="http://schemas.microsoft.com/office/powerpoint/2010/main" val="52437995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A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FB domain – </a:t>
            </a:r>
            <a:r>
              <a:rPr lang="hu-HU" sz="1400" dirty="0"/>
              <a:t>Belgium</a:t>
            </a:r>
            <a:endParaRPr lang="nl-NL" dirty="0"/>
          </a:p>
          <a:p>
            <a:endParaRPr lang="hu-HU" dirty="0"/>
          </a:p>
        </p:txBody>
      </p:sp>
      <p:sp>
        <p:nvSpPr>
          <p:cNvPr id="5" name="Slide Number Placeholder 4">
            <a:extLst>
              <a:ext uri="{FF2B5EF4-FFF2-40B4-BE49-F238E27FC236}">
                <a16:creationId xmlns:a16="http://schemas.microsoft.com/office/drawing/2014/main" id="{01BE5740-99E7-3575-1BE6-E20452893A85}"/>
              </a:ext>
            </a:extLst>
          </p:cNvPr>
          <p:cNvSpPr>
            <a:spLocks noGrp="1"/>
          </p:cNvSpPr>
          <p:nvPr>
            <p:ph type="sldNum" sz="quarter" idx="4"/>
          </p:nvPr>
        </p:nvSpPr>
        <p:spPr/>
        <p:txBody>
          <a:bodyPr/>
          <a:lstStyle/>
          <a:p>
            <a:fld id="{F551322C-20B2-48C3-B63D-68158FEBF630}" type="slidenum">
              <a:rPr lang="en-US" smtClean="0"/>
              <a:pPr/>
              <a:t>49</a:t>
            </a:fld>
            <a:endParaRPr lang="en-GB"/>
          </a:p>
        </p:txBody>
      </p:sp>
      <p:pic>
        <p:nvPicPr>
          <p:cNvPr id="4" name="slide_image">
            <a:extLst>
              <a:ext uri="{FF2B5EF4-FFF2-40B4-BE49-F238E27FC236}">
                <a16:creationId xmlns:a16="http://schemas.microsoft.com/office/drawing/2014/main" id="{D2D94FD5-E366-19B7-289A-EC0BBE73E5A4}"/>
              </a:ext>
            </a:extLst>
          </p:cNvPr>
          <p:cNvPicPr>
            <a:picLocks noChangeAspect="1"/>
          </p:cNvPicPr>
          <p:nvPr/>
        </p:nvPicPr>
        <p:blipFill>
          <a:blip r:embed="rId5"/>
          <a:stretch>
            <a:fillRect/>
          </a:stretch>
        </p:blipFill>
        <p:spPr>
          <a:xfrm>
            <a:off x="0" y="862724"/>
            <a:ext cx="9735536" cy="3776653"/>
          </a:xfrm>
          <a:prstGeom prst="rect">
            <a:avLst/>
          </a:prstGeom>
        </p:spPr>
      </p:pic>
    </p:spTree>
    <p:extLst>
      <p:ext uri="{BB962C8B-B14F-4D97-AF65-F5344CB8AC3E}">
        <p14:creationId xmlns:p14="http://schemas.microsoft.com/office/powerpoint/2010/main" val="41585846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en-US" dirty="0"/>
              <a:t>KPI</a:t>
            </a:r>
            <a:r>
              <a:rPr lang="sk-SK" dirty="0"/>
              <a:t> 2</a:t>
            </a:r>
            <a:endParaRPr lang="en-US" dirty="0"/>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p:txBody>
          <a:bodyPr/>
          <a:lstStyle/>
          <a:p>
            <a:r>
              <a:rPr lang="en-US" sz="1400" dirty="0"/>
              <a:t>Frequency of Zero </a:t>
            </a:r>
            <a:r>
              <a:rPr lang="sk-SK" sz="1400" dirty="0"/>
              <a:t>and </a:t>
            </a:r>
            <a:r>
              <a:rPr lang="en-US" sz="1400" dirty="0"/>
              <a:t>Negative ID ATCs by Oriented Core Bidding Zone Border​</a:t>
            </a:r>
          </a:p>
          <a:p>
            <a:endParaRPr lang="en-US" dirty="0"/>
          </a:p>
        </p:txBody>
      </p:sp>
      <p:sp>
        <p:nvSpPr>
          <p:cNvPr id="4" name="Slide Number Placeholder 3">
            <a:extLst>
              <a:ext uri="{FF2B5EF4-FFF2-40B4-BE49-F238E27FC236}">
                <a16:creationId xmlns:a16="http://schemas.microsoft.com/office/drawing/2014/main" id="{01AB8202-6196-F5E0-8F2A-1BDB64354A8A}"/>
              </a:ext>
            </a:extLst>
          </p:cNvPr>
          <p:cNvSpPr>
            <a:spLocks noGrp="1"/>
          </p:cNvSpPr>
          <p:nvPr>
            <p:ph type="sldNum" sz="quarter" idx="4"/>
          </p:nvPr>
        </p:nvSpPr>
        <p:spPr/>
        <p:txBody>
          <a:bodyPr/>
          <a:lstStyle/>
          <a:p>
            <a:fld id="{F551322C-20B2-48C3-B63D-68158FEBF630}" type="slidenum">
              <a:rPr lang="en-US" smtClean="0"/>
              <a:pPr/>
              <a:t>5</a:t>
            </a:fld>
            <a:endParaRPr lang="en-GB"/>
          </a:p>
        </p:txBody>
      </p:sp>
      <p:pic>
        <p:nvPicPr>
          <p:cNvPr id="6" name="Graphic 5">
            <a:extLst>
              <a:ext uri="{FF2B5EF4-FFF2-40B4-BE49-F238E27FC236}">
                <a16:creationId xmlns:a16="http://schemas.microsoft.com/office/drawing/2014/main" id="{9B835C6F-AF3C-6BC8-CD25-1E95C848EE4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8831" y="1135184"/>
            <a:ext cx="9081477" cy="5108331"/>
          </a:xfrm>
          <a:prstGeom prst="rect">
            <a:avLst/>
          </a:prstGeom>
        </p:spPr>
      </p:pic>
    </p:spTree>
    <p:extLst>
      <p:ext uri="{BB962C8B-B14F-4D97-AF65-F5344CB8AC3E}">
        <p14:creationId xmlns:p14="http://schemas.microsoft.com/office/powerpoint/2010/main" val="206793262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A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FB domain – </a:t>
            </a:r>
            <a:r>
              <a:rPr lang="hu-HU" sz="1400" dirty="0" err="1"/>
              <a:t>Czech</a:t>
            </a:r>
            <a:r>
              <a:rPr lang="hu-HU" sz="1400" dirty="0"/>
              <a:t> </a:t>
            </a:r>
            <a:r>
              <a:rPr lang="hu-HU" sz="1400" dirty="0" err="1"/>
              <a:t>Republic</a:t>
            </a:r>
            <a:endParaRPr lang="nl-NL" dirty="0"/>
          </a:p>
          <a:p>
            <a:endParaRPr lang="hu-HU" dirty="0"/>
          </a:p>
        </p:txBody>
      </p:sp>
      <p:sp>
        <p:nvSpPr>
          <p:cNvPr id="5" name="Slide Number Placeholder 4">
            <a:extLst>
              <a:ext uri="{FF2B5EF4-FFF2-40B4-BE49-F238E27FC236}">
                <a16:creationId xmlns:a16="http://schemas.microsoft.com/office/drawing/2014/main" id="{6E5E7AD4-3A27-5C63-2550-EBF0961B3C8B}"/>
              </a:ext>
            </a:extLst>
          </p:cNvPr>
          <p:cNvSpPr>
            <a:spLocks noGrp="1"/>
          </p:cNvSpPr>
          <p:nvPr>
            <p:ph type="sldNum" sz="quarter" idx="4"/>
          </p:nvPr>
        </p:nvSpPr>
        <p:spPr/>
        <p:txBody>
          <a:bodyPr/>
          <a:lstStyle/>
          <a:p>
            <a:fld id="{F551322C-20B2-48C3-B63D-68158FEBF630}" type="slidenum">
              <a:rPr lang="en-US" smtClean="0"/>
              <a:pPr/>
              <a:t>50</a:t>
            </a:fld>
            <a:endParaRPr lang="en-GB"/>
          </a:p>
        </p:txBody>
      </p:sp>
      <p:pic>
        <p:nvPicPr>
          <p:cNvPr id="4" name="slide_image">
            <a:extLst>
              <a:ext uri="{FF2B5EF4-FFF2-40B4-BE49-F238E27FC236}">
                <a16:creationId xmlns:a16="http://schemas.microsoft.com/office/drawing/2014/main" id="{9AFFD061-4592-B62C-94C9-6B8D4D17C555}"/>
              </a:ext>
            </a:extLst>
          </p:cNvPr>
          <p:cNvPicPr>
            <a:picLocks noChangeAspect="1"/>
          </p:cNvPicPr>
          <p:nvPr/>
        </p:nvPicPr>
        <p:blipFill>
          <a:blip r:embed="rId5"/>
          <a:stretch>
            <a:fillRect/>
          </a:stretch>
        </p:blipFill>
        <p:spPr>
          <a:xfrm>
            <a:off x="0" y="862724"/>
            <a:ext cx="9537038" cy="3699651"/>
          </a:xfrm>
          <a:prstGeom prst="rect">
            <a:avLst/>
          </a:prstGeom>
        </p:spPr>
      </p:pic>
    </p:spTree>
    <p:extLst>
      <p:ext uri="{BB962C8B-B14F-4D97-AF65-F5344CB8AC3E}">
        <p14:creationId xmlns:p14="http://schemas.microsoft.com/office/powerpoint/2010/main" val="65966265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A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FB domain – </a:t>
            </a:r>
            <a:r>
              <a:rPr lang="hu-HU" sz="1400" dirty="0" err="1"/>
              <a:t>Germany</a:t>
            </a:r>
            <a:endParaRPr lang="nl-NL" dirty="0"/>
          </a:p>
          <a:p>
            <a:endParaRPr lang="hu-HU" dirty="0"/>
          </a:p>
        </p:txBody>
      </p:sp>
      <p:sp>
        <p:nvSpPr>
          <p:cNvPr id="5" name="Slide Number Placeholder 4">
            <a:extLst>
              <a:ext uri="{FF2B5EF4-FFF2-40B4-BE49-F238E27FC236}">
                <a16:creationId xmlns:a16="http://schemas.microsoft.com/office/drawing/2014/main" id="{5FEE8294-5F63-77C7-2CA1-9BCA8456BF42}"/>
              </a:ext>
            </a:extLst>
          </p:cNvPr>
          <p:cNvSpPr>
            <a:spLocks noGrp="1"/>
          </p:cNvSpPr>
          <p:nvPr>
            <p:ph type="sldNum" sz="quarter" idx="4"/>
          </p:nvPr>
        </p:nvSpPr>
        <p:spPr/>
        <p:txBody>
          <a:bodyPr/>
          <a:lstStyle/>
          <a:p>
            <a:fld id="{F551322C-20B2-48C3-B63D-68158FEBF630}" type="slidenum">
              <a:rPr lang="en-US" smtClean="0"/>
              <a:pPr/>
              <a:t>51</a:t>
            </a:fld>
            <a:endParaRPr lang="en-GB"/>
          </a:p>
        </p:txBody>
      </p:sp>
      <p:pic>
        <p:nvPicPr>
          <p:cNvPr id="4" name="slide_image">
            <a:extLst>
              <a:ext uri="{FF2B5EF4-FFF2-40B4-BE49-F238E27FC236}">
                <a16:creationId xmlns:a16="http://schemas.microsoft.com/office/drawing/2014/main" id="{23395174-2531-0EF8-099D-33298C9D7C07}"/>
              </a:ext>
            </a:extLst>
          </p:cNvPr>
          <p:cNvPicPr>
            <a:picLocks noChangeAspect="1"/>
          </p:cNvPicPr>
          <p:nvPr/>
        </p:nvPicPr>
        <p:blipFill>
          <a:blip r:embed="rId5"/>
          <a:stretch>
            <a:fillRect/>
          </a:stretch>
        </p:blipFill>
        <p:spPr>
          <a:xfrm>
            <a:off x="-1" y="862724"/>
            <a:ext cx="9692641" cy="3760013"/>
          </a:xfrm>
          <a:prstGeom prst="rect">
            <a:avLst/>
          </a:prstGeom>
        </p:spPr>
      </p:pic>
    </p:spTree>
    <p:extLst>
      <p:ext uri="{BB962C8B-B14F-4D97-AF65-F5344CB8AC3E}">
        <p14:creationId xmlns:p14="http://schemas.microsoft.com/office/powerpoint/2010/main" val="251369639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A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FB domain – </a:t>
            </a:r>
            <a:r>
              <a:rPr lang="hu-HU" sz="1400" dirty="0" err="1"/>
              <a:t>Croatia</a:t>
            </a:r>
            <a:endParaRPr lang="nl-NL" dirty="0"/>
          </a:p>
          <a:p>
            <a:endParaRPr lang="hu-HU" dirty="0"/>
          </a:p>
        </p:txBody>
      </p:sp>
      <p:sp>
        <p:nvSpPr>
          <p:cNvPr id="5" name="Slide Number Placeholder 4">
            <a:extLst>
              <a:ext uri="{FF2B5EF4-FFF2-40B4-BE49-F238E27FC236}">
                <a16:creationId xmlns:a16="http://schemas.microsoft.com/office/drawing/2014/main" id="{96E9A30B-9391-5E73-9FEC-F9B650540369}"/>
              </a:ext>
            </a:extLst>
          </p:cNvPr>
          <p:cNvSpPr>
            <a:spLocks noGrp="1"/>
          </p:cNvSpPr>
          <p:nvPr>
            <p:ph type="sldNum" sz="quarter" idx="4"/>
          </p:nvPr>
        </p:nvSpPr>
        <p:spPr/>
        <p:txBody>
          <a:bodyPr/>
          <a:lstStyle/>
          <a:p>
            <a:fld id="{F551322C-20B2-48C3-B63D-68158FEBF630}" type="slidenum">
              <a:rPr lang="en-US" smtClean="0"/>
              <a:pPr/>
              <a:t>52</a:t>
            </a:fld>
            <a:endParaRPr lang="en-GB"/>
          </a:p>
        </p:txBody>
      </p:sp>
      <p:pic>
        <p:nvPicPr>
          <p:cNvPr id="4" name="slide_image">
            <a:extLst>
              <a:ext uri="{FF2B5EF4-FFF2-40B4-BE49-F238E27FC236}">
                <a16:creationId xmlns:a16="http://schemas.microsoft.com/office/drawing/2014/main" id="{D7681D8A-6EE0-FB1E-DF59-8AC727E22CB9}"/>
              </a:ext>
            </a:extLst>
          </p:cNvPr>
          <p:cNvPicPr>
            <a:picLocks noChangeAspect="1"/>
          </p:cNvPicPr>
          <p:nvPr/>
        </p:nvPicPr>
        <p:blipFill>
          <a:blip r:embed="rId5"/>
          <a:stretch>
            <a:fillRect/>
          </a:stretch>
        </p:blipFill>
        <p:spPr>
          <a:xfrm>
            <a:off x="-1" y="862724"/>
            <a:ext cx="9809973" cy="3805529"/>
          </a:xfrm>
          <a:prstGeom prst="rect">
            <a:avLst/>
          </a:prstGeom>
        </p:spPr>
      </p:pic>
    </p:spTree>
    <p:extLst>
      <p:ext uri="{BB962C8B-B14F-4D97-AF65-F5344CB8AC3E}">
        <p14:creationId xmlns:p14="http://schemas.microsoft.com/office/powerpoint/2010/main" val="114852879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A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FB domain – </a:t>
            </a:r>
            <a:r>
              <a:rPr lang="hu-HU" sz="1400" dirty="0"/>
              <a:t>France</a:t>
            </a:r>
            <a:endParaRPr lang="nl-NL" dirty="0"/>
          </a:p>
          <a:p>
            <a:endParaRPr lang="hu-HU" dirty="0"/>
          </a:p>
        </p:txBody>
      </p:sp>
      <p:sp>
        <p:nvSpPr>
          <p:cNvPr id="5" name="Slide Number Placeholder 4">
            <a:extLst>
              <a:ext uri="{FF2B5EF4-FFF2-40B4-BE49-F238E27FC236}">
                <a16:creationId xmlns:a16="http://schemas.microsoft.com/office/drawing/2014/main" id="{386287E9-8F6A-05A6-7A74-1336F50C8F37}"/>
              </a:ext>
            </a:extLst>
          </p:cNvPr>
          <p:cNvSpPr>
            <a:spLocks noGrp="1"/>
          </p:cNvSpPr>
          <p:nvPr>
            <p:ph type="sldNum" sz="quarter" idx="4"/>
          </p:nvPr>
        </p:nvSpPr>
        <p:spPr/>
        <p:txBody>
          <a:bodyPr/>
          <a:lstStyle/>
          <a:p>
            <a:fld id="{F551322C-20B2-48C3-B63D-68158FEBF630}" type="slidenum">
              <a:rPr lang="en-US" smtClean="0"/>
              <a:pPr/>
              <a:t>53</a:t>
            </a:fld>
            <a:endParaRPr lang="en-GB"/>
          </a:p>
        </p:txBody>
      </p:sp>
      <p:pic>
        <p:nvPicPr>
          <p:cNvPr id="4" name="slide_image">
            <a:extLst>
              <a:ext uri="{FF2B5EF4-FFF2-40B4-BE49-F238E27FC236}">
                <a16:creationId xmlns:a16="http://schemas.microsoft.com/office/drawing/2014/main" id="{97504B01-1558-B8D0-28F3-CC55235BF663}"/>
              </a:ext>
            </a:extLst>
          </p:cNvPr>
          <p:cNvPicPr>
            <a:picLocks noChangeAspect="1"/>
          </p:cNvPicPr>
          <p:nvPr/>
        </p:nvPicPr>
        <p:blipFill>
          <a:blip r:embed="rId5"/>
          <a:stretch>
            <a:fillRect/>
          </a:stretch>
        </p:blipFill>
        <p:spPr>
          <a:xfrm>
            <a:off x="-1" y="862724"/>
            <a:ext cx="9487413" cy="3680400"/>
          </a:xfrm>
          <a:prstGeom prst="rect">
            <a:avLst/>
          </a:prstGeom>
        </p:spPr>
      </p:pic>
    </p:spTree>
    <p:extLst>
      <p:ext uri="{BB962C8B-B14F-4D97-AF65-F5344CB8AC3E}">
        <p14:creationId xmlns:p14="http://schemas.microsoft.com/office/powerpoint/2010/main" val="75180936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A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FB domain – </a:t>
            </a:r>
            <a:r>
              <a:rPr lang="hu-HU" sz="1400" dirty="0"/>
              <a:t>Hungary</a:t>
            </a:r>
            <a:endParaRPr lang="nl-NL" dirty="0"/>
          </a:p>
          <a:p>
            <a:endParaRPr lang="hu-HU" dirty="0"/>
          </a:p>
        </p:txBody>
      </p:sp>
      <p:sp>
        <p:nvSpPr>
          <p:cNvPr id="5" name="Slide Number Placeholder 4">
            <a:extLst>
              <a:ext uri="{FF2B5EF4-FFF2-40B4-BE49-F238E27FC236}">
                <a16:creationId xmlns:a16="http://schemas.microsoft.com/office/drawing/2014/main" id="{6F45F1B9-E151-E63B-7AF1-59DD310EB450}"/>
              </a:ext>
            </a:extLst>
          </p:cNvPr>
          <p:cNvSpPr>
            <a:spLocks noGrp="1"/>
          </p:cNvSpPr>
          <p:nvPr>
            <p:ph type="sldNum" sz="quarter" idx="4"/>
          </p:nvPr>
        </p:nvSpPr>
        <p:spPr/>
        <p:txBody>
          <a:bodyPr/>
          <a:lstStyle/>
          <a:p>
            <a:fld id="{F551322C-20B2-48C3-B63D-68158FEBF630}" type="slidenum">
              <a:rPr lang="en-US" smtClean="0"/>
              <a:pPr/>
              <a:t>54</a:t>
            </a:fld>
            <a:endParaRPr lang="en-GB"/>
          </a:p>
        </p:txBody>
      </p:sp>
      <p:pic>
        <p:nvPicPr>
          <p:cNvPr id="4" name="slide_image">
            <a:extLst>
              <a:ext uri="{FF2B5EF4-FFF2-40B4-BE49-F238E27FC236}">
                <a16:creationId xmlns:a16="http://schemas.microsoft.com/office/drawing/2014/main" id="{8A170669-06BC-DEBE-ACD0-409F6F73FBDB}"/>
              </a:ext>
            </a:extLst>
          </p:cNvPr>
          <p:cNvPicPr>
            <a:picLocks noChangeAspect="1"/>
          </p:cNvPicPr>
          <p:nvPr/>
        </p:nvPicPr>
        <p:blipFill>
          <a:blip r:embed="rId5"/>
          <a:stretch>
            <a:fillRect/>
          </a:stretch>
        </p:blipFill>
        <p:spPr>
          <a:xfrm>
            <a:off x="-1" y="862724"/>
            <a:ext cx="9909221" cy="3844030"/>
          </a:xfrm>
          <a:prstGeom prst="rect">
            <a:avLst/>
          </a:prstGeom>
        </p:spPr>
      </p:pic>
    </p:spTree>
    <p:extLst>
      <p:ext uri="{BB962C8B-B14F-4D97-AF65-F5344CB8AC3E}">
        <p14:creationId xmlns:p14="http://schemas.microsoft.com/office/powerpoint/2010/main" val="176315982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A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FB domain –</a:t>
            </a:r>
            <a:r>
              <a:rPr lang="hu-HU" dirty="0"/>
              <a:t> </a:t>
            </a:r>
            <a:r>
              <a:rPr lang="en-US" dirty="0"/>
              <a:t>Netherlands</a:t>
            </a:r>
            <a:endParaRPr lang="nl-NL" dirty="0"/>
          </a:p>
          <a:p>
            <a:endParaRPr lang="hu-HU" dirty="0"/>
          </a:p>
        </p:txBody>
      </p:sp>
      <p:sp>
        <p:nvSpPr>
          <p:cNvPr id="5" name="Slide Number Placeholder 4">
            <a:extLst>
              <a:ext uri="{FF2B5EF4-FFF2-40B4-BE49-F238E27FC236}">
                <a16:creationId xmlns:a16="http://schemas.microsoft.com/office/drawing/2014/main" id="{0EC3E58E-8941-9F69-890C-2B4BC51F68B5}"/>
              </a:ext>
            </a:extLst>
          </p:cNvPr>
          <p:cNvSpPr>
            <a:spLocks noGrp="1"/>
          </p:cNvSpPr>
          <p:nvPr>
            <p:ph type="sldNum" sz="quarter" idx="4"/>
          </p:nvPr>
        </p:nvSpPr>
        <p:spPr/>
        <p:txBody>
          <a:bodyPr/>
          <a:lstStyle/>
          <a:p>
            <a:fld id="{F551322C-20B2-48C3-B63D-68158FEBF630}" type="slidenum">
              <a:rPr lang="en-US" smtClean="0"/>
              <a:pPr/>
              <a:t>55</a:t>
            </a:fld>
            <a:endParaRPr lang="en-GB"/>
          </a:p>
        </p:txBody>
      </p:sp>
      <p:pic>
        <p:nvPicPr>
          <p:cNvPr id="4" name="slide_image">
            <a:extLst>
              <a:ext uri="{FF2B5EF4-FFF2-40B4-BE49-F238E27FC236}">
                <a16:creationId xmlns:a16="http://schemas.microsoft.com/office/drawing/2014/main" id="{07267549-0781-178E-9389-23EB42BF9BFC}"/>
              </a:ext>
            </a:extLst>
          </p:cNvPr>
          <p:cNvPicPr>
            <a:picLocks noChangeAspect="1"/>
          </p:cNvPicPr>
          <p:nvPr/>
        </p:nvPicPr>
        <p:blipFill>
          <a:blip r:embed="rId5"/>
          <a:stretch>
            <a:fillRect/>
          </a:stretch>
        </p:blipFill>
        <p:spPr>
          <a:xfrm>
            <a:off x="0" y="862724"/>
            <a:ext cx="9527804" cy="3696069"/>
          </a:xfrm>
          <a:prstGeom prst="rect">
            <a:avLst/>
          </a:prstGeom>
        </p:spPr>
      </p:pic>
    </p:spTree>
    <p:extLst>
      <p:ext uri="{BB962C8B-B14F-4D97-AF65-F5344CB8AC3E}">
        <p14:creationId xmlns:p14="http://schemas.microsoft.com/office/powerpoint/2010/main" val="362103259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A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FB domain – </a:t>
            </a:r>
            <a:r>
              <a:rPr lang="hu-HU" dirty="0"/>
              <a:t>Poland</a:t>
            </a:r>
            <a:endParaRPr lang="nl-NL" dirty="0"/>
          </a:p>
          <a:p>
            <a:endParaRPr lang="hu-HU" dirty="0"/>
          </a:p>
        </p:txBody>
      </p:sp>
      <p:sp>
        <p:nvSpPr>
          <p:cNvPr id="5" name="Slide Number Placeholder 4">
            <a:extLst>
              <a:ext uri="{FF2B5EF4-FFF2-40B4-BE49-F238E27FC236}">
                <a16:creationId xmlns:a16="http://schemas.microsoft.com/office/drawing/2014/main" id="{E5D05D9B-C152-89A4-19BF-6EF6085AE27C}"/>
              </a:ext>
            </a:extLst>
          </p:cNvPr>
          <p:cNvSpPr>
            <a:spLocks noGrp="1"/>
          </p:cNvSpPr>
          <p:nvPr>
            <p:ph type="sldNum" sz="quarter" idx="4"/>
          </p:nvPr>
        </p:nvSpPr>
        <p:spPr/>
        <p:txBody>
          <a:bodyPr/>
          <a:lstStyle/>
          <a:p>
            <a:fld id="{F551322C-20B2-48C3-B63D-68158FEBF630}" type="slidenum">
              <a:rPr lang="en-US" smtClean="0"/>
              <a:pPr/>
              <a:t>56</a:t>
            </a:fld>
            <a:endParaRPr lang="en-GB"/>
          </a:p>
        </p:txBody>
      </p:sp>
      <p:pic>
        <p:nvPicPr>
          <p:cNvPr id="4" name="slide_image">
            <a:extLst>
              <a:ext uri="{FF2B5EF4-FFF2-40B4-BE49-F238E27FC236}">
                <a16:creationId xmlns:a16="http://schemas.microsoft.com/office/drawing/2014/main" id="{81104D6B-1F54-E113-2833-BFF96E5A01CE}"/>
              </a:ext>
            </a:extLst>
          </p:cNvPr>
          <p:cNvPicPr>
            <a:picLocks noChangeAspect="1"/>
          </p:cNvPicPr>
          <p:nvPr/>
        </p:nvPicPr>
        <p:blipFill>
          <a:blip r:embed="rId5"/>
          <a:stretch>
            <a:fillRect/>
          </a:stretch>
        </p:blipFill>
        <p:spPr>
          <a:xfrm>
            <a:off x="-1" y="862724"/>
            <a:ext cx="9721517" cy="3771215"/>
          </a:xfrm>
          <a:prstGeom prst="rect">
            <a:avLst/>
          </a:prstGeom>
        </p:spPr>
      </p:pic>
    </p:spTree>
    <p:extLst>
      <p:ext uri="{BB962C8B-B14F-4D97-AF65-F5344CB8AC3E}">
        <p14:creationId xmlns:p14="http://schemas.microsoft.com/office/powerpoint/2010/main" val="391843128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A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FB domain – </a:t>
            </a:r>
            <a:r>
              <a:rPr lang="hu-HU" dirty="0" err="1"/>
              <a:t>Romania</a:t>
            </a:r>
            <a:endParaRPr lang="nl-NL" dirty="0"/>
          </a:p>
          <a:p>
            <a:endParaRPr lang="hu-HU" dirty="0"/>
          </a:p>
        </p:txBody>
      </p:sp>
      <p:sp>
        <p:nvSpPr>
          <p:cNvPr id="5" name="Slide Number Placeholder 4">
            <a:extLst>
              <a:ext uri="{FF2B5EF4-FFF2-40B4-BE49-F238E27FC236}">
                <a16:creationId xmlns:a16="http://schemas.microsoft.com/office/drawing/2014/main" id="{96571515-5D1E-6158-39E8-041663D8A7BB}"/>
              </a:ext>
            </a:extLst>
          </p:cNvPr>
          <p:cNvSpPr>
            <a:spLocks noGrp="1"/>
          </p:cNvSpPr>
          <p:nvPr>
            <p:ph type="sldNum" sz="quarter" idx="4"/>
          </p:nvPr>
        </p:nvSpPr>
        <p:spPr/>
        <p:txBody>
          <a:bodyPr/>
          <a:lstStyle/>
          <a:p>
            <a:fld id="{F551322C-20B2-48C3-B63D-68158FEBF630}" type="slidenum">
              <a:rPr lang="en-US" smtClean="0"/>
              <a:pPr/>
              <a:t>57</a:t>
            </a:fld>
            <a:endParaRPr lang="en-GB"/>
          </a:p>
        </p:txBody>
      </p:sp>
      <p:pic>
        <p:nvPicPr>
          <p:cNvPr id="4" name="slide_image">
            <a:extLst>
              <a:ext uri="{FF2B5EF4-FFF2-40B4-BE49-F238E27FC236}">
                <a16:creationId xmlns:a16="http://schemas.microsoft.com/office/drawing/2014/main" id="{DF92697A-52CD-A7AB-F4A2-B59AFC78E6AB}"/>
              </a:ext>
            </a:extLst>
          </p:cNvPr>
          <p:cNvPicPr>
            <a:picLocks noChangeAspect="1"/>
          </p:cNvPicPr>
          <p:nvPr/>
        </p:nvPicPr>
        <p:blipFill>
          <a:blip r:embed="rId5"/>
          <a:stretch>
            <a:fillRect/>
          </a:stretch>
        </p:blipFill>
        <p:spPr>
          <a:xfrm>
            <a:off x="0" y="862724"/>
            <a:ext cx="9859596" cy="3824779"/>
          </a:xfrm>
          <a:prstGeom prst="rect">
            <a:avLst/>
          </a:prstGeom>
        </p:spPr>
      </p:pic>
    </p:spTree>
    <p:extLst>
      <p:ext uri="{BB962C8B-B14F-4D97-AF65-F5344CB8AC3E}">
        <p14:creationId xmlns:p14="http://schemas.microsoft.com/office/powerpoint/2010/main" val="376132737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A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FB domain – </a:t>
            </a:r>
            <a:r>
              <a:rPr lang="hu-HU" sz="1400" dirty="0" err="1"/>
              <a:t>Slovenia</a:t>
            </a:r>
            <a:endParaRPr lang="nl-NL" dirty="0"/>
          </a:p>
          <a:p>
            <a:endParaRPr lang="hu-HU" dirty="0"/>
          </a:p>
        </p:txBody>
      </p:sp>
      <p:sp>
        <p:nvSpPr>
          <p:cNvPr id="5" name="Slide Number Placeholder 4">
            <a:extLst>
              <a:ext uri="{FF2B5EF4-FFF2-40B4-BE49-F238E27FC236}">
                <a16:creationId xmlns:a16="http://schemas.microsoft.com/office/drawing/2014/main" id="{8B6EE0D2-756C-2DCF-53FA-4458B788AAD7}"/>
              </a:ext>
            </a:extLst>
          </p:cNvPr>
          <p:cNvSpPr>
            <a:spLocks noGrp="1"/>
          </p:cNvSpPr>
          <p:nvPr>
            <p:ph type="sldNum" sz="quarter" idx="4"/>
          </p:nvPr>
        </p:nvSpPr>
        <p:spPr/>
        <p:txBody>
          <a:bodyPr/>
          <a:lstStyle/>
          <a:p>
            <a:fld id="{F551322C-20B2-48C3-B63D-68158FEBF630}" type="slidenum">
              <a:rPr lang="en-US" smtClean="0"/>
              <a:pPr/>
              <a:t>58</a:t>
            </a:fld>
            <a:endParaRPr lang="en-GB"/>
          </a:p>
        </p:txBody>
      </p:sp>
      <p:pic>
        <p:nvPicPr>
          <p:cNvPr id="4" name="slide_image">
            <a:extLst>
              <a:ext uri="{FF2B5EF4-FFF2-40B4-BE49-F238E27FC236}">
                <a16:creationId xmlns:a16="http://schemas.microsoft.com/office/drawing/2014/main" id="{03883F11-3E44-E9E3-B84B-BBAB3D587B8F}"/>
              </a:ext>
            </a:extLst>
          </p:cNvPr>
          <p:cNvPicPr>
            <a:picLocks noChangeAspect="1"/>
          </p:cNvPicPr>
          <p:nvPr/>
        </p:nvPicPr>
        <p:blipFill>
          <a:blip r:embed="rId5"/>
          <a:stretch>
            <a:fillRect/>
          </a:stretch>
        </p:blipFill>
        <p:spPr>
          <a:xfrm>
            <a:off x="0" y="862724"/>
            <a:ext cx="9834784" cy="3815154"/>
          </a:xfrm>
          <a:prstGeom prst="rect">
            <a:avLst/>
          </a:prstGeom>
        </p:spPr>
      </p:pic>
    </p:spTree>
    <p:extLst>
      <p:ext uri="{BB962C8B-B14F-4D97-AF65-F5344CB8AC3E}">
        <p14:creationId xmlns:p14="http://schemas.microsoft.com/office/powerpoint/2010/main" val="160422239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A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FB domain – </a:t>
            </a:r>
            <a:r>
              <a:rPr lang="hu-HU" sz="1400" dirty="0" err="1"/>
              <a:t>Slovakia</a:t>
            </a:r>
            <a:endParaRPr lang="nl-NL" dirty="0"/>
          </a:p>
          <a:p>
            <a:endParaRPr lang="hu-HU" dirty="0"/>
          </a:p>
        </p:txBody>
      </p:sp>
      <p:sp>
        <p:nvSpPr>
          <p:cNvPr id="5" name="Slide Number Placeholder 4">
            <a:extLst>
              <a:ext uri="{FF2B5EF4-FFF2-40B4-BE49-F238E27FC236}">
                <a16:creationId xmlns:a16="http://schemas.microsoft.com/office/drawing/2014/main" id="{70BB8103-0D9C-A7B1-9F17-C077857594B7}"/>
              </a:ext>
            </a:extLst>
          </p:cNvPr>
          <p:cNvSpPr>
            <a:spLocks noGrp="1"/>
          </p:cNvSpPr>
          <p:nvPr>
            <p:ph type="sldNum" sz="quarter" idx="4"/>
          </p:nvPr>
        </p:nvSpPr>
        <p:spPr/>
        <p:txBody>
          <a:bodyPr/>
          <a:lstStyle/>
          <a:p>
            <a:fld id="{F551322C-20B2-48C3-B63D-68158FEBF630}" type="slidenum">
              <a:rPr lang="en-US" smtClean="0"/>
              <a:pPr/>
              <a:t>59</a:t>
            </a:fld>
            <a:endParaRPr lang="en-GB"/>
          </a:p>
        </p:txBody>
      </p:sp>
      <p:pic>
        <p:nvPicPr>
          <p:cNvPr id="4" name="slide_image">
            <a:extLst>
              <a:ext uri="{FF2B5EF4-FFF2-40B4-BE49-F238E27FC236}">
                <a16:creationId xmlns:a16="http://schemas.microsoft.com/office/drawing/2014/main" id="{6BF685AC-EBE5-FE39-7FF6-5F4F2DD6630D}"/>
              </a:ext>
            </a:extLst>
          </p:cNvPr>
          <p:cNvPicPr>
            <a:picLocks noChangeAspect="1"/>
          </p:cNvPicPr>
          <p:nvPr/>
        </p:nvPicPr>
        <p:blipFill>
          <a:blip r:embed="rId5"/>
          <a:stretch>
            <a:fillRect/>
          </a:stretch>
        </p:blipFill>
        <p:spPr>
          <a:xfrm>
            <a:off x="-1" y="862724"/>
            <a:ext cx="9906001" cy="3842781"/>
          </a:xfrm>
          <a:prstGeom prst="rect">
            <a:avLst/>
          </a:prstGeom>
        </p:spPr>
      </p:pic>
    </p:spTree>
    <p:extLst>
      <p:ext uri="{BB962C8B-B14F-4D97-AF65-F5344CB8AC3E}">
        <p14:creationId xmlns:p14="http://schemas.microsoft.com/office/powerpoint/2010/main" val="28503900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en-US" dirty="0"/>
              <a:t>KPI</a:t>
            </a:r>
            <a:r>
              <a:rPr lang="sk-SK" dirty="0"/>
              <a:t> 2</a:t>
            </a:r>
            <a:r>
              <a:rPr lang="pt-PT" dirty="0"/>
              <a:t>A - </a:t>
            </a:r>
            <a:r>
              <a:rPr lang="en-US" sz="1600" dirty="0"/>
              <a:t>Delta comparison with IDCC(b) run at ~4:30</a:t>
            </a:r>
            <a:br>
              <a:rPr lang="en-US" sz="1600" dirty="0"/>
            </a:br>
            <a:endParaRPr lang="en-US" dirty="0"/>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p:txBody>
          <a:bodyPr/>
          <a:lstStyle/>
          <a:p>
            <a:r>
              <a:rPr lang="en-US" sz="1400" dirty="0"/>
              <a:t>Frequency of Zero </a:t>
            </a:r>
            <a:r>
              <a:rPr lang="sk-SK" sz="1400" dirty="0"/>
              <a:t>and </a:t>
            </a:r>
            <a:r>
              <a:rPr lang="en-US" sz="1400" dirty="0"/>
              <a:t>Negative ID ATCs by Oriented Core Bidding Zone Border​</a:t>
            </a:r>
          </a:p>
          <a:p>
            <a:endParaRPr lang="en-US" dirty="0"/>
          </a:p>
        </p:txBody>
      </p:sp>
      <p:sp>
        <p:nvSpPr>
          <p:cNvPr id="4" name="Slide Number Placeholder 3">
            <a:extLst>
              <a:ext uri="{FF2B5EF4-FFF2-40B4-BE49-F238E27FC236}">
                <a16:creationId xmlns:a16="http://schemas.microsoft.com/office/drawing/2014/main" id="{CF4532A7-F023-0BD7-BEA5-F003D9ED35AB}"/>
              </a:ext>
            </a:extLst>
          </p:cNvPr>
          <p:cNvSpPr>
            <a:spLocks noGrp="1"/>
          </p:cNvSpPr>
          <p:nvPr>
            <p:ph type="sldNum" sz="quarter" idx="4"/>
          </p:nvPr>
        </p:nvSpPr>
        <p:spPr/>
        <p:txBody>
          <a:bodyPr/>
          <a:lstStyle/>
          <a:p>
            <a:fld id="{F551322C-20B2-48C3-B63D-68158FEBF630}" type="slidenum">
              <a:rPr lang="en-US" smtClean="0"/>
              <a:pPr/>
              <a:t>6</a:t>
            </a:fld>
            <a:endParaRPr lang="en-GB"/>
          </a:p>
        </p:txBody>
      </p:sp>
      <p:pic>
        <p:nvPicPr>
          <p:cNvPr id="2" name="Graphic 1">
            <a:extLst>
              <a:ext uri="{FF2B5EF4-FFF2-40B4-BE49-F238E27FC236}">
                <a16:creationId xmlns:a16="http://schemas.microsoft.com/office/drawing/2014/main" id="{402FF7A0-F56C-8305-0968-013707903BB8}"/>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218831" y="1135184"/>
            <a:ext cx="9081477" cy="5108330"/>
          </a:xfrm>
          <a:prstGeom prst="rect">
            <a:avLst/>
          </a:prstGeom>
        </p:spPr>
      </p:pic>
    </p:spTree>
    <p:extLst>
      <p:ext uri="{BB962C8B-B14F-4D97-AF65-F5344CB8AC3E}">
        <p14:creationId xmlns:p14="http://schemas.microsoft.com/office/powerpoint/2010/main" val="227121172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B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ID ATC – </a:t>
            </a:r>
            <a:r>
              <a:rPr lang="hu-HU" dirty="0" err="1"/>
              <a:t>Austria</a:t>
            </a:r>
            <a:endParaRPr lang="nl-NL" dirty="0"/>
          </a:p>
          <a:p>
            <a:endParaRPr lang="hu-HU" dirty="0"/>
          </a:p>
        </p:txBody>
      </p:sp>
      <p:sp>
        <p:nvSpPr>
          <p:cNvPr id="5" name="Slide Number Placeholder 4">
            <a:extLst>
              <a:ext uri="{FF2B5EF4-FFF2-40B4-BE49-F238E27FC236}">
                <a16:creationId xmlns:a16="http://schemas.microsoft.com/office/drawing/2014/main" id="{2171F907-4554-879D-D16D-2A7DF456D8BB}"/>
              </a:ext>
            </a:extLst>
          </p:cNvPr>
          <p:cNvSpPr>
            <a:spLocks noGrp="1"/>
          </p:cNvSpPr>
          <p:nvPr>
            <p:ph type="sldNum" sz="quarter" idx="4"/>
          </p:nvPr>
        </p:nvSpPr>
        <p:spPr/>
        <p:txBody>
          <a:bodyPr/>
          <a:lstStyle/>
          <a:p>
            <a:fld id="{F551322C-20B2-48C3-B63D-68158FEBF630}" type="slidenum">
              <a:rPr lang="en-US" smtClean="0"/>
              <a:pPr/>
              <a:t>60</a:t>
            </a:fld>
            <a:endParaRPr lang="en-GB"/>
          </a:p>
        </p:txBody>
      </p:sp>
      <p:pic>
        <p:nvPicPr>
          <p:cNvPr id="7" name="slide_image">
            <a:extLst>
              <a:ext uri="{FF2B5EF4-FFF2-40B4-BE49-F238E27FC236}">
                <a16:creationId xmlns:a16="http://schemas.microsoft.com/office/drawing/2014/main" id="{5B3823D8-C69D-52B3-DA0A-A9AAC20E571E}"/>
              </a:ext>
            </a:extLst>
          </p:cNvPr>
          <p:cNvPicPr>
            <a:picLocks noChangeAspect="1"/>
          </p:cNvPicPr>
          <p:nvPr/>
        </p:nvPicPr>
        <p:blipFill>
          <a:blip r:embed="rId5"/>
          <a:stretch>
            <a:fillRect/>
          </a:stretch>
        </p:blipFill>
        <p:spPr>
          <a:xfrm>
            <a:off x="0" y="862723"/>
            <a:ext cx="9911060" cy="3844743"/>
          </a:xfrm>
          <a:prstGeom prst="rect">
            <a:avLst/>
          </a:prstGeom>
        </p:spPr>
      </p:pic>
    </p:spTree>
    <p:extLst>
      <p:ext uri="{BB962C8B-B14F-4D97-AF65-F5344CB8AC3E}">
        <p14:creationId xmlns:p14="http://schemas.microsoft.com/office/powerpoint/2010/main" val="416033755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B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ID ATC – </a:t>
            </a:r>
            <a:r>
              <a:rPr lang="hu-HU" sz="1400" dirty="0"/>
              <a:t>Belgium</a:t>
            </a:r>
            <a:endParaRPr lang="nl-NL" dirty="0"/>
          </a:p>
          <a:p>
            <a:endParaRPr lang="hu-HU" dirty="0"/>
          </a:p>
        </p:txBody>
      </p:sp>
      <p:sp>
        <p:nvSpPr>
          <p:cNvPr id="5" name="Slide Number Placeholder 4">
            <a:extLst>
              <a:ext uri="{FF2B5EF4-FFF2-40B4-BE49-F238E27FC236}">
                <a16:creationId xmlns:a16="http://schemas.microsoft.com/office/drawing/2014/main" id="{F235FEE5-8629-B11E-41E2-D1B7AB1245F8}"/>
              </a:ext>
            </a:extLst>
          </p:cNvPr>
          <p:cNvSpPr>
            <a:spLocks noGrp="1"/>
          </p:cNvSpPr>
          <p:nvPr>
            <p:ph type="sldNum" sz="quarter" idx="4"/>
          </p:nvPr>
        </p:nvSpPr>
        <p:spPr/>
        <p:txBody>
          <a:bodyPr/>
          <a:lstStyle/>
          <a:p>
            <a:fld id="{F551322C-20B2-48C3-B63D-68158FEBF630}" type="slidenum">
              <a:rPr lang="en-US" smtClean="0"/>
              <a:pPr/>
              <a:t>61</a:t>
            </a:fld>
            <a:endParaRPr lang="en-GB"/>
          </a:p>
        </p:txBody>
      </p:sp>
      <p:pic>
        <p:nvPicPr>
          <p:cNvPr id="4" name="slide_image">
            <a:extLst>
              <a:ext uri="{FF2B5EF4-FFF2-40B4-BE49-F238E27FC236}">
                <a16:creationId xmlns:a16="http://schemas.microsoft.com/office/drawing/2014/main" id="{0C09A010-B60C-B1AD-1D24-48E55D462D9A}"/>
              </a:ext>
            </a:extLst>
          </p:cNvPr>
          <p:cNvPicPr>
            <a:picLocks noChangeAspect="1"/>
          </p:cNvPicPr>
          <p:nvPr/>
        </p:nvPicPr>
        <p:blipFill>
          <a:blip r:embed="rId5"/>
          <a:stretch>
            <a:fillRect/>
          </a:stretch>
        </p:blipFill>
        <p:spPr>
          <a:xfrm>
            <a:off x="-1" y="862724"/>
            <a:ext cx="9785159" cy="3795903"/>
          </a:xfrm>
          <a:prstGeom prst="rect">
            <a:avLst/>
          </a:prstGeom>
        </p:spPr>
      </p:pic>
    </p:spTree>
    <p:extLst>
      <p:ext uri="{BB962C8B-B14F-4D97-AF65-F5344CB8AC3E}">
        <p14:creationId xmlns:p14="http://schemas.microsoft.com/office/powerpoint/2010/main" val="98138248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B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ID ATC – </a:t>
            </a:r>
            <a:r>
              <a:rPr lang="hu-HU" sz="1400" dirty="0" err="1"/>
              <a:t>Czech</a:t>
            </a:r>
            <a:r>
              <a:rPr lang="hu-HU" sz="1400" dirty="0"/>
              <a:t> </a:t>
            </a:r>
            <a:r>
              <a:rPr lang="hu-HU" sz="1400" dirty="0" err="1"/>
              <a:t>Republic</a:t>
            </a:r>
            <a:endParaRPr lang="nl-NL" dirty="0"/>
          </a:p>
          <a:p>
            <a:endParaRPr lang="hu-HU" dirty="0"/>
          </a:p>
        </p:txBody>
      </p:sp>
      <p:sp>
        <p:nvSpPr>
          <p:cNvPr id="5" name="Slide Number Placeholder 4">
            <a:extLst>
              <a:ext uri="{FF2B5EF4-FFF2-40B4-BE49-F238E27FC236}">
                <a16:creationId xmlns:a16="http://schemas.microsoft.com/office/drawing/2014/main" id="{B8E3B9BB-6086-075F-57E6-FAEF8BE1A54A}"/>
              </a:ext>
            </a:extLst>
          </p:cNvPr>
          <p:cNvSpPr>
            <a:spLocks noGrp="1"/>
          </p:cNvSpPr>
          <p:nvPr>
            <p:ph type="sldNum" sz="quarter" idx="4"/>
          </p:nvPr>
        </p:nvSpPr>
        <p:spPr/>
        <p:txBody>
          <a:bodyPr/>
          <a:lstStyle/>
          <a:p>
            <a:fld id="{F551322C-20B2-48C3-B63D-68158FEBF630}" type="slidenum">
              <a:rPr lang="en-US" smtClean="0"/>
              <a:pPr/>
              <a:t>62</a:t>
            </a:fld>
            <a:endParaRPr lang="en-GB"/>
          </a:p>
        </p:txBody>
      </p:sp>
      <p:pic>
        <p:nvPicPr>
          <p:cNvPr id="4" name="slide_image">
            <a:extLst>
              <a:ext uri="{FF2B5EF4-FFF2-40B4-BE49-F238E27FC236}">
                <a16:creationId xmlns:a16="http://schemas.microsoft.com/office/drawing/2014/main" id="{1A0A5953-B05A-E085-B6C5-3A11F72DD7AE}"/>
              </a:ext>
            </a:extLst>
          </p:cNvPr>
          <p:cNvPicPr>
            <a:picLocks noChangeAspect="1"/>
          </p:cNvPicPr>
          <p:nvPr/>
        </p:nvPicPr>
        <p:blipFill>
          <a:blip r:embed="rId5"/>
          <a:stretch>
            <a:fillRect/>
          </a:stretch>
        </p:blipFill>
        <p:spPr>
          <a:xfrm>
            <a:off x="-1" y="862724"/>
            <a:ext cx="9670977" cy="3751609"/>
          </a:xfrm>
          <a:prstGeom prst="rect">
            <a:avLst/>
          </a:prstGeom>
        </p:spPr>
      </p:pic>
    </p:spTree>
    <p:extLst>
      <p:ext uri="{BB962C8B-B14F-4D97-AF65-F5344CB8AC3E}">
        <p14:creationId xmlns:p14="http://schemas.microsoft.com/office/powerpoint/2010/main" val="403080341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B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ID ATC – </a:t>
            </a:r>
            <a:r>
              <a:rPr lang="hu-HU" sz="1400" dirty="0" err="1"/>
              <a:t>Germany</a:t>
            </a:r>
            <a:endParaRPr lang="nl-NL" dirty="0"/>
          </a:p>
          <a:p>
            <a:endParaRPr lang="hu-HU" dirty="0"/>
          </a:p>
        </p:txBody>
      </p:sp>
      <p:sp>
        <p:nvSpPr>
          <p:cNvPr id="5" name="Slide Number Placeholder 4">
            <a:extLst>
              <a:ext uri="{FF2B5EF4-FFF2-40B4-BE49-F238E27FC236}">
                <a16:creationId xmlns:a16="http://schemas.microsoft.com/office/drawing/2014/main" id="{C186845A-298E-B981-C2F8-DA2E7A102E6C}"/>
              </a:ext>
            </a:extLst>
          </p:cNvPr>
          <p:cNvSpPr>
            <a:spLocks noGrp="1"/>
          </p:cNvSpPr>
          <p:nvPr>
            <p:ph type="sldNum" sz="quarter" idx="4"/>
          </p:nvPr>
        </p:nvSpPr>
        <p:spPr/>
        <p:txBody>
          <a:bodyPr/>
          <a:lstStyle/>
          <a:p>
            <a:fld id="{F551322C-20B2-48C3-B63D-68158FEBF630}" type="slidenum">
              <a:rPr lang="en-US" smtClean="0"/>
              <a:pPr/>
              <a:t>63</a:t>
            </a:fld>
            <a:endParaRPr lang="en-GB"/>
          </a:p>
        </p:txBody>
      </p:sp>
      <p:pic>
        <p:nvPicPr>
          <p:cNvPr id="4" name="slide_image">
            <a:extLst>
              <a:ext uri="{FF2B5EF4-FFF2-40B4-BE49-F238E27FC236}">
                <a16:creationId xmlns:a16="http://schemas.microsoft.com/office/drawing/2014/main" id="{CB844D74-9079-5F0C-F5AC-288CEF5C93BD}"/>
              </a:ext>
            </a:extLst>
          </p:cNvPr>
          <p:cNvPicPr>
            <a:picLocks noChangeAspect="1"/>
          </p:cNvPicPr>
          <p:nvPr/>
        </p:nvPicPr>
        <p:blipFill>
          <a:blip r:embed="rId5"/>
          <a:stretch>
            <a:fillRect/>
          </a:stretch>
        </p:blipFill>
        <p:spPr>
          <a:xfrm>
            <a:off x="0" y="862724"/>
            <a:ext cx="9823756" cy="3810876"/>
          </a:xfrm>
          <a:prstGeom prst="rect">
            <a:avLst/>
          </a:prstGeom>
        </p:spPr>
      </p:pic>
    </p:spTree>
    <p:extLst>
      <p:ext uri="{BB962C8B-B14F-4D97-AF65-F5344CB8AC3E}">
        <p14:creationId xmlns:p14="http://schemas.microsoft.com/office/powerpoint/2010/main" val="357501455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B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ID ATC – </a:t>
            </a:r>
            <a:r>
              <a:rPr lang="hu-HU" sz="1400" dirty="0"/>
              <a:t>France</a:t>
            </a:r>
            <a:endParaRPr lang="nl-NL" dirty="0"/>
          </a:p>
          <a:p>
            <a:endParaRPr lang="hu-HU" dirty="0"/>
          </a:p>
        </p:txBody>
      </p:sp>
      <p:sp>
        <p:nvSpPr>
          <p:cNvPr id="5" name="Slide Number Placeholder 4">
            <a:extLst>
              <a:ext uri="{FF2B5EF4-FFF2-40B4-BE49-F238E27FC236}">
                <a16:creationId xmlns:a16="http://schemas.microsoft.com/office/drawing/2014/main" id="{510BE65A-9365-58A7-C23E-5D3C0A9885D1}"/>
              </a:ext>
            </a:extLst>
          </p:cNvPr>
          <p:cNvSpPr>
            <a:spLocks noGrp="1"/>
          </p:cNvSpPr>
          <p:nvPr>
            <p:ph type="sldNum" sz="quarter" idx="4"/>
          </p:nvPr>
        </p:nvSpPr>
        <p:spPr/>
        <p:txBody>
          <a:bodyPr/>
          <a:lstStyle/>
          <a:p>
            <a:fld id="{F551322C-20B2-48C3-B63D-68158FEBF630}" type="slidenum">
              <a:rPr lang="en-US" smtClean="0"/>
              <a:pPr/>
              <a:t>64</a:t>
            </a:fld>
            <a:endParaRPr lang="en-GB"/>
          </a:p>
        </p:txBody>
      </p:sp>
      <p:pic>
        <p:nvPicPr>
          <p:cNvPr id="4" name="slide_image">
            <a:extLst>
              <a:ext uri="{FF2B5EF4-FFF2-40B4-BE49-F238E27FC236}">
                <a16:creationId xmlns:a16="http://schemas.microsoft.com/office/drawing/2014/main" id="{B823E6D5-C5EE-C334-C34C-ABF69814FBE2}"/>
              </a:ext>
            </a:extLst>
          </p:cNvPr>
          <p:cNvPicPr>
            <a:picLocks noChangeAspect="1"/>
          </p:cNvPicPr>
          <p:nvPr/>
        </p:nvPicPr>
        <p:blipFill>
          <a:blip r:embed="rId5"/>
          <a:stretch>
            <a:fillRect/>
          </a:stretch>
        </p:blipFill>
        <p:spPr>
          <a:xfrm>
            <a:off x="0" y="862723"/>
            <a:ext cx="9911060" cy="3844743"/>
          </a:xfrm>
          <a:prstGeom prst="rect">
            <a:avLst/>
          </a:prstGeom>
        </p:spPr>
      </p:pic>
    </p:spTree>
    <p:extLst>
      <p:ext uri="{BB962C8B-B14F-4D97-AF65-F5344CB8AC3E}">
        <p14:creationId xmlns:p14="http://schemas.microsoft.com/office/powerpoint/2010/main" val="288648056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B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ID ATC – </a:t>
            </a:r>
            <a:r>
              <a:rPr lang="hu-HU" sz="1400" dirty="0" err="1"/>
              <a:t>Croatia</a:t>
            </a:r>
            <a:endParaRPr lang="hu-HU" dirty="0"/>
          </a:p>
        </p:txBody>
      </p:sp>
      <p:sp>
        <p:nvSpPr>
          <p:cNvPr id="5" name="Slide Number Placeholder 4">
            <a:extLst>
              <a:ext uri="{FF2B5EF4-FFF2-40B4-BE49-F238E27FC236}">
                <a16:creationId xmlns:a16="http://schemas.microsoft.com/office/drawing/2014/main" id="{0CDEAC77-061C-E722-2186-157A92DB98C8}"/>
              </a:ext>
            </a:extLst>
          </p:cNvPr>
          <p:cNvSpPr>
            <a:spLocks noGrp="1"/>
          </p:cNvSpPr>
          <p:nvPr>
            <p:ph type="sldNum" sz="quarter" idx="4"/>
          </p:nvPr>
        </p:nvSpPr>
        <p:spPr/>
        <p:txBody>
          <a:bodyPr/>
          <a:lstStyle/>
          <a:p>
            <a:fld id="{F551322C-20B2-48C3-B63D-68158FEBF630}" type="slidenum">
              <a:rPr lang="en-US" smtClean="0"/>
              <a:pPr/>
              <a:t>65</a:t>
            </a:fld>
            <a:endParaRPr lang="en-GB"/>
          </a:p>
        </p:txBody>
      </p:sp>
      <p:pic>
        <p:nvPicPr>
          <p:cNvPr id="4" name="slide_image">
            <a:extLst>
              <a:ext uri="{FF2B5EF4-FFF2-40B4-BE49-F238E27FC236}">
                <a16:creationId xmlns:a16="http://schemas.microsoft.com/office/drawing/2014/main" id="{4882828A-3C1F-6D11-3EB4-F846F3E06DBB}"/>
              </a:ext>
            </a:extLst>
          </p:cNvPr>
          <p:cNvPicPr>
            <a:picLocks noChangeAspect="1"/>
          </p:cNvPicPr>
          <p:nvPr/>
        </p:nvPicPr>
        <p:blipFill>
          <a:blip r:embed="rId5"/>
          <a:stretch>
            <a:fillRect/>
          </a:stretch>
        </p:blipFill>
        <p:spPr>
          <a:xfrm>
            <a:off x="-1" y="862724"/>
            <a:ext cx="9889233" cy="3836276"/>
          </a:xfrm>
          <a:prstGeom prst="rect">
            <a:avLst/>
          </a:prstGeom>
        </p:spPr>
      </p:pic>
    </p:spTree>
    <p:extLst>
      <p:ext uri="{BB962C8B-B14F-4D97-AF65-F5344CB8AC3E}">
        <p14:creationId xmlns:p14="http://schemas.microsoft.com/office/powerpoint/2010/main" val="387823816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B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ID ATC – </a:t>
            </a:r>
            <a:r>
              <a:rPr lang="hu-HU" sz="1400" dirty="0"/>
              <a:t>Hungary</a:t>
            </a:r>
            <a:endParaRPr lang="nl-NL" dirty="0"/>
          </a:p>
          <a:p>
            <a:endParaRPr lang="hu-HU" dirty="0"/>
          </a:p>
        </p:txBody>
      </p:sp>
      <p:sp>
        <p:nvSpPr>
          <p:cNvPr id="5" name="Slide Number Placeholder 4">
            <a:extLst>
              <a:ext uri="{FF2B5EF4-FFF2-40B4-BE49-F238E27FC236}">
                <a16:creationId xmlns:a16="http://schemas.microsoft.com/office/drawing/2014/main" id="{5E40CBD3-AB0D-98AC-F800-17849C680538}"/>
              </a:ext>
            </a:extLst>
          </p:cNvPr>
          <p:cNvSpPr>
            <a:spLocks noGrp="1"/>
          </p:cNvSpPr>
          <p:nvPr>
            <p:ph type="sldNum" sz="quarter" idx="4"/>
          </p:nvPr>
        </p:nvSpPr>
        <p:spPr/>
        <p:txBody>
          <a:bodyPr/>
          <a:lstStyle/>
          <a:p>
            <a:fld id="{F551322C-20B2-48C3-B63D-68158FEBF630}" type="slidenum">
              <a:rPr lang="en-US" smtClean="0"/>
              <a:pPr/>
              <a:t>66</a:t>
            </a:fld>
            <a:endParaRPr lang="en-GB"/>
          </a:p>
        </p:txBody>
      </p:sp>
      <p:pic>
        <p:nvPicPr>
          <p:cNvPr id="4" name="slide_image">
            <a:extLst>
              <a:ext uri="{FF2B5EF4-FFF2-40B4-BE49-F238E27FC236}">
                <a16:creationId xmlns:a16="http://schemas.microsoft.com/office/drawing/2014/main" id="{F07E8A8B-21F7-67FD-6CBE-D33BC722E837}"/>
              </a:ext>
            </a:extLst>
          </p:cNvPr>
          <p:cNvPicPr>
            <a:picLocks noChangeAspect="1"/>
          </p:cNvPicPr>
          <p:nvPr/>
        </p:nvPicPr>
        <p:blipFill>
          <a:blip r:embed="rId5"/>
          <a:stretch>
            <a:fillRect/>
          </a:stretch>
        </p:blipFill>
        <p:spPr>
          <a:xfrm>
            <a:off x="0" y="862724"/>
            <a:ext cx="9823756" cy="3810876"/>
          </a:xfrm>
          <a:prstGeom prst="rect">
            <a:avLst/>
          </a:prstGeom>
        </p:spPr>
      </p:pic>
    </p:spTree>
    <p:extLst>
      <p:ext uri="{BB962C8B-B14F-4D97-AF65-F5344CB8AC3E}">
        <p14:creationId xmlns:p14="http://schemas.microsoft.com/office/powerpoint/2010/main" val="250893706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B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ID ATC –</a:t>
            </a:r>
            <a:r>
              <a:rPr lang="hu-HU" dirty="0"/>
              <a:t> </a:t>
            </a:r>
            <a:r>
              <a:rPr lang="en-US" dirty="0"/>
              <a:t>Netherlands</a:t>
            </a:r>
            <a:endParaRPr lang="nl-NL" dirty="0"/>
          </a:p>
          <a:p>
            <a:endParaRPr lang="hu-HU" dirty="0"/>
          </a:p>
        </p:txBody>
      </p:sp>
      <p:sp>
        <p:nvSpPr>
          <p:cNvPr id="5" name="Slide Number Placeholder 4">
            <a:extLst>
              <a:ext uri="{FF2B5EF4-FFF2-40B4-BE49-F238E27FC236}">
                <a16:creationId xmlns:a16="http://schemas.microsoft.com/office/drawing/2014/main" id="{FD22E782-C184-45FE-A652-9820985DEEE9}"/>
              </a:ext>
            </a:extLst>
          </p:cNvPr>
          <p:cNvSpPr>
            <a:spLocks noGrp="1"/>
          </p:cNvSpPr>
          <p:nvPr>
            <p:ph type="sldNum" sz="quarter" idx="4"/>
          </p:nvPr>
        </p:nvSpPr>
        <p:spPr/>
        <p:txBody>
          <a:bodyPr/>
          <a:lstStyle/>
          <a:p>
            <a:fld id="{F551322C-20B2-48C3-B63D-68158FEBF630}" type="slidenum">
              <a:rPr lang="en-US" smtClean="0"/>
              <a:pPr/>
              <a:t>67</a:t>
            </a:fld>
            <a:endParaRPr lang="en-GB"/>
          </a:p>
        </p:txBody>
      </p:sp>
      <p:pic>
        <p:nvPicPr>
          <p:cNvPr id="4" name="slide_image">
            <a:extLst>
              <a:ext uri="{FF2B5EF4-FFF2-40B4-BE49-F238E27FC236}">
                <a16:creationId xmlns:a16="http://schemas.microsoft.com/office/drawing/2014/main" id="{2F12421D-D6FC-B989-6C32-DAFCFC1740A4}"/>
              </a:ext>
            </a:extLst>
          </p:cNvPr>
          <p:cNvPicPr>
            <a:picLocks noChangeAspect="1"/>
          </p:cNvPicPr>
          <p:nvPr/>
        </p:nvPicPr>
        <p:blipFill>
          <a:blip r:embed="rId5"/>
          <a:stretch>
            <a:fillRect/>
          </a:stretch>
        </p:blipFill>
        <p:spPr>
          <a:xfrm>
            <a:off x="-1" y="862724"/>
            <a:ext cx="9906001" cy="3842781"/>
          </a:xfrm>
          <a:prstGeom prst="rect">
            <a:avLst/>
          </a:prstGeom>
        </p:spPr>
      </p:pic>
    </p:spTree>
    <p:extLst>
      <p:ext uri="{BB962C8B-B14F-4D97-AF65-F5344CB8AC3E}">
        <p14:creationId xmlns:p14="http://schemas.microsoft.com/office/powerpoint/2010/main" val="286423265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B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ID ATC – </a:t>
            </a:r>
            <a:r>
              <a:rPr lang="hu-HU" dirty="0"/>
              <a:t>Poland</a:t>
            </a:r>
            <a:endParaRPr lang="nl-NL" dirty="0"/>
          </a:p>
          <a:p>
            <a:endParaRPr lang="hu-HU" dirty="0"/>
          </a:p>
        </p:txBody>
      </p:sp>
      <p:sp>
        <p:nvSpPr>
          <p:cNvPr id="5" name="Slide Number Placeholder 4">
            <a:extLst>
              <a:ext uri="{FF2B5EF4-FFF2-40B4-BE49-F238E27FC236}">
                <a16:creationId xmlns:a16="http://schemas.microsoft.com/office/drawing/2014/main" id="{1EDCB6CE-1DEC-ACAB-0FB8-E5347C88CCE8}"/>
              </a:ext>
            </a:extLst>
          </p:cNvPr>
          <p:cNvSpPr>
            <a:spLocks noGrp="1"/>
          </p:cNvSpPr>
          <p:nvPr>
            <p:ph type="sldNum" sz="quarter" idx="4"/>
          </p:nvPr>
        </p:nvSpPr>
        <p:spPr/>
        <p:txBody>
          <a:bodyPr/>
          <a:lstStyle/>
          <a:p>
            <a:fld id="{F551322C-20B2-48C3-B63D-68158FEBF630}" type="slidenum">
              <a:rPr lang="en-US" smtClean="0"/>
              <a:pPr/>
              <a:t>68</a:t>
            </a:fld>
            <a:endParaRPr lang="en-GB"/>
          </a:p>
        </p:txBody>
      </p:sp>
      <p:pic>
        <p:nvPicPr>
          <p:cNvPr id="4" name="slide_image">
            <a:extLst>
              <a:ext uri="{FF2B5EF4-FFF2-40B4-BE49-F238E27FC236}">
                <a16:creationId xmlns:a16="http://schemas.microsoft.com/office/drawing/2014/main" id="{9F80FBAF-D8B0-F70F-00B9-F40DF2A60E16}"/>
              </a:ext>
            </a:extLst>
          </p:cNvPr>
          <p:cNvPicPr>
            <a:picLocks noChangeAspect="1"/>
          </p:cNvPicPr>
          <p:nvPr/>
        </p:nvPicPr>
        <p:blipFill>
          <a:blip r:embed="rId5"/>
          <a:stretch>
            <a:fillRect/>
          </a:stretch>
        </p:blipFill>
        <p:spPr>
          <a:xfrm>
            <a:off x="0" y="862724"/>
            <a:ext cx="9758280" cy="3785476"/>
          </a:xfrm>
          <a:prstGeom prst="rect">
            <a:avLst/>
          </a:prstGeom>
        </p:spPr>
      </p:pic>
    </p:spTree>
    <p:extLst>
      <p:ext uri="{BB962C8B-B14F-4D97-AF65-F5344CB8AC3E}">
        <p14:creationId xmlns:p14="http://schemas.microsoft.com/office/powerpoint/2010/main" val="200395459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B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ID ATC – </a:t>
            </a:r>
            <a:r>
              <a:rPr lang="hu-HU" dirty="0" err="1"/>
              <a:t>Romania</a:t>
            </a:r>
            <a:endParaRPr lang="nl-NL" dirty="0"/>
          </a:p>
          <a:p>
            <a:endParaRPr lang="hu-HU" dirty="0"/>
          </a:p>
        </p:txBody>
      </p:sp>
      <p:sp>
        <p:nvSpPr>
          <p:cNvPr id="5" name="Slide Number Placeholder 4">
            <a:extLst>
              <a:ext uri="{FF2B5EF4-FFF2-40B4-BE49-F238E27FC236}">
                <a16:creationId xmlns:a16="http://schemas.microsoft.com/office/drawing/2014/main" id="{6DB7148A-257C-495C-9CF6-195FEB2E105E}"/>
              </a:ext>
            </a:extLst>
          </p:cNvPr>
          <p:cNvSpPr>
            <a:spLocks noGrp="1"/>
          </p:cNvSpPr>
          <p:nvPr>
            <p:ph type="sldNum" sz="quarter" idx="4"/>
          </p:nvPr>
        </p:nvSpPr>
        <p:spPr/>
        <p:txBody>
          <a:bodyPr/>
          <a:lstStyle/>
          <a:p>
            <a:fld id="{F551322C-20B2-48C3-B63D-68158FEBF630}" type="slidenum">
              <a:rPr lang="en-US" smtClean="0"/>
              <a:pPr/>
              <a:t>69</a:t>
            </a:fld>
            <a:endParaRPr lang="en-GB"/>
          </a:p>
        </p:txBody>
      </p:sp>
      <p:pic>
        <p:nvPicPr>
          <p:cNvPr id="4" name="slide_image">
            <a:extLst>
              <a:ext uri="{FF2B5EF4-FFF2-40B4-BE49-F238E27FC236}">
                <a16:creationId xmlns:a16="http://schemas.microsoft.com/office/drawing/2014/main" id="{295DDBDB-B8D2-A635-C157-191D09BC436D}"/>
              </a:ext>
            </a:extLst>
          </p:cNvPr>
          <p:cNvPicPr>
            <a:picLocks noChangeAspect="1"/>
          </p:cNvPicPr>
          <p:nvPr/>
        </p:nvPicPr>
        <p:blipFill>
          <a:blip r:embed="rId5"/>
          <a:stretch>
            <a:fillRect/>
          </a:stretch>
        </p:blipFill>
        <p:spPr>
          <a:xfrm>
            <a:off x="-1" y="862724"/>
            <a:ext cx="9906001" cy="3842781"/>
          </a:xfrm>
          <a:prstGeom prst="rect">
            <a:avLst/>
          </a:prstGeom>
        </p:spPr>
      </p:pic>
    </p:spTree>
    <p:extLst>
      <p:ext uri="{BB962C8B-B14F-4D97-AF65-F5344CB8AC3E}">
        <p14:creationId xmlns:p14="http://schemas.microsoft.com/office/powerpoint/2010/main" val="35229910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en-US" dirty="0"/>
              <a:t>KPI</a:t>
            </a:r>
            <a:r>
              <a:rPr lang="sk-SK" dirty="0"/>
              <a:t> 3</a:t>
            </a:r>
            <a:endParaRPr lang="en-US" dirty="0"/>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a:xfrm>
            <a:off x="540000" y="350816"/>
            <a:ext cx="8640000" cy="363850"/>
          </a:xfrm>
        </p:spPr>
        <p:txBody>
          <a:bodyPr/>
          <a:lstStyle/>
          <a:p>
            <a:r>
              <a:rPr lang="en-US" sz="1400" dirty="0"/>
              <a:t>Frequency of isolated Core Bidding Zones of zero (or negative) ID ATCs in import, export and both directions </a:t>
            </a:r>
            <a:r>
              <a:rPr lang="en-US" dirty="0"/>
              <a:t>​​</a:t>
            </a:r>
          </a:p>
        </p:txBody>
      </p:sp>
      <p:sp>
        <p:nvSpPr>
          <p:cNvPr id="4" name="Slide Number Placeholder 3">
            <a:extLst>
              <a:ext uri="{FF2B5EF4-FFF2-40B4-BE49-F238E27FC236}">
                <a16:creationId xmlns:a16="http://schemas.microsoft.com/office/drawing/2014/main" id="{E8884BEB-A753-2A32-F63F-DA4A53672358}"/>
              </a:ext>
            </a:extLst>
          </p:cNvPr>
          <p:cNvSpPr>
            <a:spLocks noGrp="1"/>
          </p:cNvSpPr>
          <p:nvPr>
            <p:ph type="sldNum" sz="quarter" idx="4"/>
          </p:nvPr>
        </p:nvSpPr>
        <p:spPr/>
        <p:txBody>
          <a:bodyPr/>
          <a:lstStyle/>
          <a:p>
            <a:fld id="{F551322C-20B2-48C3-B63D-68158FEBF630}" type="slidenum">
              <a:rPr lang="en-US" smtClean="0"/>
              <a:pPr/>
              <a:t>7</a:t>
            </a:fld>
            <a:endParaRPr lang="en-GB"/>
          </a:p>
        </p:txBody>
      </p:sp>
      <p:pic>
        <p:nvPicPr>
          <p:cNvPr id="2" name="Graphic 1">
            <a:extLst>
              <a:ext uri="{FF2B5EF4-FFF2-40B4-BE49-F238E27FC236}">
                <a16:creationId xmlns:a16="http://schemas.microsoft.com/office/drawing/2014/main" id="{D667C39E-00F5-6287-F837-AA5E5D244014}"/>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218831" y="1135184"/>
            <a:ext cx="9081477" cy="5108330"/>
          </a:xfrm>
          <a:prstGeom prst="rect">
            <a:avLst/>
          </a:prstGeom>
        </p:spPr>
      </p:pic>
    </p:spTree>
    <p:extLst>
      <p:ext uri="{BB962C8B-B14F-4D97-AF65-F5344CB8AC3E}">
        <p14:creationId xmlns:p14="http://schemas.microsoft.com/office/powerpoint/2010/main" val="265678798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B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ID ATC – </a:t>
            </a:r>
            <a:r>
              <a:rPr lang="hu-HU" sz="1400" dirty="0" err="1"/>
              <a:t>Slovenia</a:t>
            </a:r>
            <a:endParaRPr lang="nl-NL" dirty="0"/>
          </a:p>
          <a:p>
            <a:endParaRPr lang="hu-HU" dirty="0"/>
          </a:p>
        </p:txBody>
      </p:sp>
      <p:sp>
        <p:nvSpPr>
          <p:cNvPr id="5" name="Slide Number Placeholder 4">
            <a:extLst>
              <a:ext uri="{FF2B5EF4-FFF2-40B4-BE49-F238E27FC236}">
                <a16:creationId xmlns:a16="http://schemas.microsoft.com/office/drawing/2014/main" id="{CE1000A3-68A7-7616-73C2-D36D7B9CC28B}"/>
              </a:ext>
            </a:extLst>
          </p:cNvPr>
          <p:cNvSpPr>
            <a:spLocks noGrp="1"/>
          </p:cNvSpPr>
          <p:nvPr>
            <p:ph type="sldNum" sz="quarter" idx="4"/>
          </p:nvPr>
        </p:nvSpPr>
        <p:spPr/>
        <p:txBody>
          <a:bodyPr/>
          <a:lstStyle/>
          <a:p>
            <a:fld id="{F551322C-20B2-48C3-B63D-68158FEBF630}" type="slidenum">
              <a:rPr lang="en-US" smtClean="0"/>
              <a:pPr/>
              <a:t>70</a:t>
            </a:fld>
            <a:endParaRPr lang="en-GB"/>
          </a:p>
        </p:txBody>
      </p:sp>
      <p:pic>
        <p:nvPicPr>
          <p:cNvPr id="4" name="slide_image">
            <a:extLst>
              <a:ext uri="{FF2B5EF4-FFF2-40B4-BE49-F238E27FC236}">
                <a16:creationId xmlns:a16="http://schemas.microsoft.com/office/drawing/2014/main" id="{4DC18554-B6C1-CA04-08F1-0B583F37FDAC}"/>
              </a:ext>
            </a:extLst>
          </p:cNvPr>
          <p:cNvPicPr>
            <a:picLocks noChangeAspect="1"/>
          </p:cNvPicPr>
          <p:nvPr/>
        </p:nvPicPr>
        <p:blipFill>
          <a:blip r:embed="rId5"/>
          <a:stretch>
            <a:fillRect/>
          </a:stretch>
        </p:blipFill>
        <p:spPr>
          <a:xfrm>
            <a:off x="-1" y="862724"/>
            <a:ext cx="9906001" cy="3842781"/>
          </a:xfrm>
          <a:prstGeom prst="rect">
            <a:avLst/>
          </a:prstGeom>
        </p:spPr>
      </p:pic>
    </p:spTree>
    <p:extLst>
      <p:ext uri="{BB962C8B-B14F-4D97-AF65-F5344CB8AC3E}">
        <p14:creationId xmlns:p14="http://schemas.microsoft.com/office/powerpoint/2010/main" val="5290294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B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ID ATC – </a:t>
            </a:r>
            <a:r>
              <a:rPr lang="hu-HU" sz="1400" dirty="0" err="1"/>
              <a:t>Slovakia</a:t>
            </a:r>
            <a:endParaRPr lang="nl-NL" dirty="0"/>
          </a:p>
          <a:p>
            <a:endParaRPr lang="hu-HU" dirty="0"/>
          </a:p>
        </p:txBody>
      </p:sp>
      <p:sp>
        <p:nvSpPr>
          <p:cNvPr id="5" name="Slide Number Placeholder 4">
            <a:extLst>
              <a:ext uri="{FF2B5EF4-FFF2-40B4-BE49-F238E27FC236}">
                <a16:creationId xmlns:a16="http://schemas.microsoft.com/office/drawing/2014/main" id="{1B9EF9D6-1324-033B-E0F3-FEFFBD3C4CA4}"/>
              </a:ext>
            </a:extLst>
          </p:cNvPr>
          <p:cNvSpPr>
            <a:spLocks noGrp="1"/>
          </p:cNvSpPr>
          <p:nvPr>
            <p:ph type="sldNum" sz="quarter" idx="4"/>
          </p:nvPr>
        </p:nvSpPr>
        <p:spPr/>
        <p:txBody>
          <a:bodyPr/>
          <a:lstStyle/>
          <a:p>
            <a:fld id="{F551322C-20B2-48C3-B63D-68158FEBF630}" type="slidenum">
              <a:rPr lang="en-US" smtClean="0"/>
              <a:pPr/>
              <a:t>71</a:t>
            </a:fld>
            <a:endParaRPr lang="en-GB"/>
          </a:p>
        </p:txBody>
      </p:sp>
      <p:pic>
        <p:nvPicPr>
          <p:cNvPr id="7" name="slide_image">
            <a:extLst>
              <a:ext uri="{FF2B5EF4-FFF2-40B4-BE49-F238E27FC236}">
                <a16:creationId xmlns:a16="http://schemas.microsoft.com/office/drawing/2014/main" id="{904AF8A1-C255-C55E-9131-5427FB7FFAD8}"/>
              </a:ext>
            </a:extLst>
          </p:cNvPr>
          <p:cNvPicPr>
            <a:picLocks noChangeAspect="1"/>
          </p:cNvPicPr>
          <p:nvPr/>
        </p:nvPicPr>
        <p:blipFill>
          <a:blip r:embed="rId5"/>
          <a:stretch>
            <a:fillRect/>
          </a:stretch>
        </p:blipFill>
        <p:spPr>
          <a:xfrm>
            <a:off x="-1" y="862724"/>
            <a:ext cx="9736453" cy="3777009"/>
          </a:xfrm>
          <a:prstGeom prst="rect">
            <a:avLst/>
          </a:prstGeom>
        </p:spPr>
      </p:pic>
    </p:spTree>
    <p:extLst>
      <p:ext uri="{BB962C8B-B14F-4D97-AF65-F5344CB8AC3E}">
        <p14:creationId xmlns:p14="http://schemas.microsoft.com/office/powerpoint/2010/main" val="1984386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en-US" dirty="0"/>
              <a:t>KPI</a:t>
            </a:r>
            <a:r>
              <a:rPr lang="sk-SK" dirty="0"/>
              <a:t> 3</a:t>
            </a:r>
            <a:r>
              <a:rPr lang="pt-PT" dirty="0"/>
              <a:t>A - </a:t>
            </a:r>
            <a:r>
              <a:rPr lang="en-US" sz="1600" dirty="0"/>
              <a:t>Delta comparison with IDCC(b) run at ~4:30</a:t>
            </a:r>
            <a:r>
              <a:rPr lang="pt-PT" dirty="0"/>
              <a:t> </a:t>
            </a:r>
            <a:endParaRPr lang="en-US" dirty="0"/>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a:xfrm>
            <a:off x="540000" y="350816"/>
            <a:ext cx="8640000" cy="363850"/>
          </a:xfrm>
        </p:spPr>
        <p:txBody>
          <a:bodyPr/>
          <a:lstStyle/>
          <a:p>
            <a:r>
              <a:rPr lang="en-US" sz="1400" dirty="0"/>
              <a:t>Frequency of isolated Core Bidding Zones of zero (or negative) ID ATCs in import, export and both directions </a:t>
            </a:r>
            <a:r>
              <a:rPr lang="en-US" dirty="0"/>
              <a:t>​​</a:t>
            </a:r>
          </a:p>
        </p:txBody>
      </p:sp>
      <p:sp>
        <p:nvSpPr>
          <p:cNvPr id="4" name="Slide Number Placeholder 3">
            <a:extLst>
              <a:ext uri="{FF2B5EF4-FFF2-40B4-BE49-F238E27FC236}">
                <a16:creationId xmlns:a16="http://schemas.microsoft.com/office/drawing/2014/main" id="{6CFD7AE5-C98E-E3E6-924E-A29C0351DA6C}"/>
              </a:ext>
            </a:extLst>
          </p:cNvPr>
          <p:cNvSpPr>
            <a:spLocks noGrp="1"/>
          </p:cNvSpPr>
          <p:nvPr>
            <p:ph type="sldNum" sz="quarter" idx="4"/>
          </p:nvPr>
        </p:nvSpPr>
        <p:spPr/>
        <p:txBody>
          <a:bodyPr/>
          <a:lstStyle/>
          <a:p>
            <a:fld id="{F551322C-20B2-48C3-B63D-68158FEBF630}" type="slidenum">
              <a:rPr lang="en-US" smtClean="0"/>
              <a:pPr/>
              <a:t>8</a:t>
            </a:fld>
            <a:endParaRPr lang="en-GB"/>
          </a:p>
        </p:txBody>
      </p:sp>
      <p:pic>
        <p:nvPicPr>
          <p:cNvPr id="2" name="Graphic 1">
            <a:extLst>
              <a:ext uri="{FF2B5EF4-FFF2-40B4-BE49-F238E27FC236}">
                <a16:creationId xmlns:a16="http://schemas.microsoft.com/office/drawing/2014/main" id="{5550D6C1-184C-4D74-7DA3-1EDD9A4287B1}"/>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218831" y="1135184"/>
            <a:ext cx="9081477" cy="5108330"/>
          </a:xfrm>
          <a:prstGeom prst="rect">
            <a:avLst/>
          </a:prstGeom>
        </p:spPr>
      </p:pic>
    </p:spTree>
    <p:extLst>
      <p:ext uri="{BB962C8B-B14F-4D97-AF65-F5344CB8AC3E}">
        <p14:creationId xmlns:p14="http://schemas.microsoft.com/office/powerpoint/2010/main" val="8616794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en-US" dirty="0"/>
              <a:t>KPI</a:t>
            </a:r>
            <a:r>
              <a:rPr lang="sk-SK" dirty="0"/>
              <a:t> 4</a:t>
            </a:r>
            <a:endParaRPr lang="en-US" dirty="0"/>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p:txBody>
          <a:bodyPr/>
          <a:lstStyle/>
          <a:p>
            <a:r>
              <a:rPr lang="en-US" sz="1400" dirty="0"/>
              <a:t>Mean positive ID ATCs by Oriented Core Bidding Zone Border</a:t>
            </a:r>
          </a:p>
          <a:p>
            <a:endParaRPr lang="en-US" dirty="0"/>
          </a:p>
        </p:txBody>
      </p:sp>
      <p:sp>
        <p:nvSpPr>
          <p:cNvPr id="4" name="Slide Number Placeholder 3">
            <a:extLst>
              <a:ext uri="{FF2B5EF4-FFF2-40B4-BE49-F238E27FC236}">
                <a16:creationId xmlns:a16="http://schemas.microsoft.com/office/drawing/2014/main" id="{B76E57C0-005C-14E8-9B25-54EBE187878F}"/>
              </a:ext>
            </a:extLst>
          </p:cNvPr>
          <p:cNvSpPr>
            <a:spLocks noGrp="1"/>
          </p:cNvSpPr>
          <p:nvPr>
            <p:ph type="sldNum" sz="quarter" idx="4"/>
          </p:nvPr>
        </p:nvSpPr>
        <p:spPr/>
        <p:txBody>
          <a:bodyPr/>
          <a:lstStyle/>
          <a:p>
            <a:fld id="{F551322C-20B2-48C3-B63D-68158FEBF630}" type="slidenum">
              <a:rPr lang="en-US" smtClean="0"/>
              <a:pPr/>
              <a:t>9</a:t>
            </a:fld>
            <a:endParaRPr lang="en-GB"/>
          </a:p>
        </p:txBody>
      </p:sp>
      <p:pic>
        <p:nvPicPr>
          <p:cNvPr id="2" name="Graphic 1">
            <a:extLst>
              <a:ext uri="{FF2B5EF4-FFF2-40B4-BE49-F238E27FC236}">
                <a16:creationId xmlns:a16="http://schemas.microsoft.com/office/drawing/2014/main" id="{C8EA50D1-5C77-9C67-DBC8-3609276394F7}"/>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218831" y="1135184"/>
            <a:ext cx="9081477" cy="5108330"/>
          </a:xfrm>
          <a:prstGeom prst="rect">
            <a:avLst/>
          </a:prstGeom>
        </p:spPr>
      </p:pic>
    </p:spTree>
    <p:extLst>
      <p:ext uri="{BB962C8B-B14F-4D97-AF65-F5344CB8AC3E}">
        <p14:creationId xmlns:p14="http://schemas.microsoft.com/office/powerpoint/2010/main" val="2792822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7_Magnus Red 4ENERGY">
  <a:themeElements>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FF"/>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b="0" i="0" u="none" strike="noStrike" cap="none" normalizeH="0" baseline="0" smtClean="0">
            <a:ln>
              <a:noFill/>
            </a:ln>
            <a:solidFill>
              <a:schemeClr val="tx1"/>
            </a:solidFill>
            <a:effectLst/>
            <a:latin typeface="+mn-lt"/>
          </a:defRPr>
        </a:defPPr>
      </a:lstStyle>
    </a:spDef>
    <a:lnDef>
      <a:spPr bwMode="auto">
        <a:solidFill>
          <a:schemeClr val="accent1"/>
        </a:solidFill>
        <a:ln w="19050" cap="flat" cmpd="sng" algn="ctr">
          <a:solidFill>
            <a:schemeClr val="tx1"/>
          </a:solidFill>
          <a:prstDash val="solid"/>
          <a:round/>
          <a:headEnd type="none" w="med" len="med"/>
          <a:tailEnd type="arrow"/>
        </a:ln>
        <a:effectLst/>
      </a:spPr>
      <a:bodyPr/>
      <a:lstStyle/>
    </a:lnDef>
    <a:txDef>
      <a:spPr>
        <a:noFill/>
      </a:spPr>
      <a:bodyPr wrap="none" rtlCol="0">
        <a:spAutoFit/>
      </a:bodyPr>
      <a:lstStyle>
        <a:defPPr algn="l">
          <a:defRPr sz="1400" smtClean="0">
            <a:solidFill>
              <a:schemeClr val="tx2"/>
            </a:solidFill>
            <a:latin typeface="Arial" panose="020B0604020202020204" pitchFamily="34" charset="0"/>
            <a:cs typeface="Arial" panose="020B0604020202020204" pitchFamily="34" charset="0"/>
          </a:defRPr>
        </a:defPPr>
      </a:lstStyle>
    </a:txDef>
  </a:objectDefaults>
  <a:extraClrSchemeLst>
    <a:extraClrScheme>
      <a:clrScheme name="Nouvelle pré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ouvelle pré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ouvelle pré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ouvelle pré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ouvelle pré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ouvelle pré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ouvelle pré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ouvelle pré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ouvelle pré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ouvelle pré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ouvelle pré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ouvelle pré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emplate CWE slides 2" id="{9C6C80EF-07BA-4316-A3B7-3AC9E50EED1F}" vid="{7A22D3B6-89C6-4749-A306-7BF1AB253485}"/>
    </a:ext>
  </a:ext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themeOverride>
</file>

<file path=ppt/theme/themeOverride10.xml><?xml version="1.0" encoding="utf-8"?>
<a:themeOverride xmlns:a="http://schemas.openxmlformats.org/drawingml/2006/main">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themeOverride>
</file>

<file path=ppt/theme/themeOverride11.xml><?xml version="1.0" encoding="utf-8"?>
<a:themeOverride xmlns:a="http://schemas.openxmlformats.org/drawingml/2006/main">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themeOverride>
</file>

<file path=ppt/theme/themeOverride12.xml><?xml version="1.0" encoding="utf-8"?>
<a:themeOverride xmlns:a="http://schemas.openxmlformats.org/drawingml/2006/main">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themeOverride>
</file>

<file path=ppt/theme/themeOverride13.xml><?xml version="1.0" encoding="utf-8"?>
<a:themeOverride xmlns:a="http://schemas.openxmlformats.org/drawingml/2006/main">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themeOverride>
</file>

<file path=ppt/theme/themeOverride14.xml><?xml version="1.0" encoding="utf-8"?>
<a:themeOverride xmlns:a="http://schemas.openxmlformats.org/drawingml/2006/main">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themeOverride>
</file>

<file path=ppt/theme/themeOverride15.xml><?xml version="1.0" encoding="utf-8"?>
<a:themeOverride xmlns:a="http://schemas.openxmlformats.org/drawingml/2006/main">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themeOverride>
</file>

<file path=ppt/theme/themeOverride16.xml><?xml version="1.0" encoding="utf-8"?>
<a:themeOverride xmlns:a="http://schemas.openxmlformats.org/drawingml/2006/main">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themeOverride>
</file>

<file path=ppt/theme/themeOverride17.xml><?xml version="1.0" encoding="utf-8"?>
<a:themeOverride xmlns:a="http://schemas.openxmlformats.org/drawingml/2006/main">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themeOverride>
</file>

<file path=ppt/theme/themeOverride2.xml><?xml version="1.0" encoding="utf-8"?>
<a:themeOverride xmlns:a="http://schemas.openxmlformats.org/drawingml/2006/main">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themeOverride>
</file>

<file path=ppt/theme/themeOverride3.xml><?xml version="1.0" encoding="utf-8"?>
<a:themeOverride xmlns:a="http://schemas.openxmlformats.org/drawingml/2006/main">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themeOverride>
</file>

<file path=ppt/theme/themeOverride4.xml><?xml version="1.0" encoding="utf-8"?>
<a:themeOverride xmlns:a="http://schemas.openxmlformats.org/drawingml/2006/main">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themeOverride>
</file>

<file path=ppt/theme/themeOverride5.xml><?xml version="1.0" encoding="utf-8"?>
<a:themeOverride xmlns:a="http://schemas.openxmlformats.org/drawingml/2006/main">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themeOverride>
</file>

<file path=ppt/theme/themeOverride6.xml><?xml version="1.0" encoding="utf-8"?>
<a:themeOverride xmlns:a="http://schemas.openxmlformats.org/drawingml/2006/main">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themeOverride>
</file>

<file path=ppt/theme/themeOverride7.xml><?xml version="1.0" encoding="utf-8"?>
<a:themeOverride xmlns:a="http://schemas.openxmlformats.org/drawingml/2006/main">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themeOverride>
</file>

<file path=ppt/theme/themeOverride8.xml><?xml version="1.0" encoding="utf-8"?>
<a:themeOverride xmlns:a="http://schemas.openxmlformats.org/drawingml/2006/main">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themeOverride>
</file>

<file path=ppt/theme/themeOverride9.xml><?xml version="1.0" encoding="utf-8"?>
<a:themeOverride xmlns:a="http://schemas.openxmlformats.org/drawingml/2006/main">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d3bb33e5-bbf9-4bbd-b752-30f1ea546036">
      <Terms xmlns="http://schemas.microsoft.com/office/infopath/2007/PartnerControls"/>
    </lcf76f155ced4ddcb4097134ff3c332f>
    <TaxCatchAll xmlns="6708568e-76bd-4ab6-a0fd-e90291312931"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9E20F6677570B4594AE3C70D059D60F" ma:contentTypeVersion="16" ma:contentTypeDescription="Create a new document." ma:contentTypeScope="" ma:versionID="06d67ccb7b9e804c946eea4de301aa21">
  <xsd:schema xmlns:xsd="http://www.w3.org/2001/XMLSchema" xmlns:xs="http://www.w3.org/2001/XMLSchema" xmlns:p="http://schemas.microsoft.com/office/2006/metadata/properties" xmlns:ns2="d3bb33e5-bbf9-4bbd-b752-30f1ea546036" xmlns:ns3="6708568e-76bd-4ab6-a0fd-e90291312931" targetNamespace="http://schemas.microsoft.com/office/2006/metadata/properties" ma:root="true" ma:fieldsID="6e1b1801bf9de293437c600e00c73275" ns2:_="" ns3:_="">
    <xsd:import namespace="d3bb33e5-bbf9-4bbd-b752-30f1ea546036"/>
    <xsd:import namespace="6708568e-76bd-4ab6-a0fd-e9029131293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Location"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3bb33e5-bbf9-4bbd-b752-30f1ea54603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f583ee3c-f8b4-4f86-8f08-197d062ad53c"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6708568e-76bd-4ab6-a0fd-e90291312931"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d228334f-05a1-48ac-b2dd-e71f0020a819}" ma:internalName="TaxCatchAll" ma:showField="CatchAllData" ma:web="6708568e-76bd-4ab6-a0fd-e9029131293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63B1F98-5418-4DB4-8887-EEDBE3A3006E}">
  <ds:schemaRefs>
    <ds:schemaRef ds:uri="http://schemas.openxmlformats.org/package/2006/metadata/core-properties"/>
    <ds:schemaRef ds:uri="http://purl.org/dc/dcmitype/"/>
    <ds:schemaRef ds:uri="http://schemas.microsoft.com/office/2006/documentManagement/types"/>
    <ds:schemaRef ds:uri="http://schemas.microsoft.com/office/2006/metadata/properties"/>
    <ds:schemaRef ds:uri="http://www.w3.org/XML/1998/namespace"/>
    <ds:schemaRef ds:uri="http://purl.org/dc/terms/"/>
    <ds:schemaRef ds:uri="d3bb33e5-bbf9-4bbd-b752-30f1ea546036"/>
    <ds:schemaRef ds:uri="http://schemas.microsoft.com/office/infopath/2007/PartnerControls"/>
    <ds:schemaRef ds:uri="6708568e-76bd-4ab6-a0fd-e90291312931"/>
    <ds:schemaRef ds:uri="http://purl.org/dc/elements/1.1/"/>
  </ds:schemaRefs>
</ds:datastoreItem>
</file>

<file path=customXml/itemProps2.xml><?xml version="1.0" encoding="utf-8"?>
<ds:datastoreItem xmlns:ds="http://schemas.openxmlformats.org/officeDocument/2006/customXml" ds:itemID="{49C66D46-DB5D-41A2-AFA4-25CF3594102C}">
  <ds:schemaRefs>
    <ds:schemaRef ds:uri="http://schemas.microsoft.com/sharepoint/v3/contenttype/forms"/>
  </ds:schemaRefs>
</ds:datastoreItem>
</file>

<file path=customXml/itemProps3.xml><?xml version="1.0" encoding="utf-8"?>
<ds:datastoreItem xmlns:ds="http://schemas.openxmlformats.org/officeDocument/2006/customXml" ds:itemID="{9073E8D5-F2F0-41D3-8329-5DDC3BA8AA1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3bb33e5-bbf9-4bbd-b752-30f1ea546036"/>
    <ds:schemaRef ds:uri="6708568e-76bd-4ab6-a0fd-e902913129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6e118e09-08be-4360-a815-3fc29828016d}" enabled="1" method="Standard" siteId="{15b734ef-4a07-47e7-90f4-22cc84a7af23}" contentBits="0" removed="0"/>
</clbl:labelList>
</file>

<file path=docProps/app.xml><?xml version="1.0" encoding="utf-8"?>
<Properties xmlns="http://schemas.openxmlformats.org/officeDocument/2006/extended-properties" xmlns:vt="http://schemas.openxmlformats.org/officeDocument/2006/docPropsVTypes">
  <Template/>
  <TotalTime>45</TotalTime>
  <Words>2374</Words>
  <Application>Microsoft Macintosh PowerPoint</Application>
  <PresentationFormat>A4 Paper (210x297 mm)</PresentationFormat>
  <Paragraphs>343</Paragraphs>
  <Slides>71</Slides>
  <Notes>47</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71</vt:i4>
      </vt:variant>
    </vt:vector>
  </HeadingPairs>
  <TitlesOfParts>
    <vt:vector size="76" baseType="lpstr">
      <vt:lpstr>Arial Unicode MS</vt:lpstr>
      <vt:lpstr>Arial</vt:lpstr>
      <vt:lpstr>Wingdings</vt:lpstr>
      <vt:lpstr>7_Magnus Red 4ENERGY</vt:lpstr>
      <vt:lpstr>think-cell Slide</vt:lpstr>
      <vt:lpstr>PowerPoint Presentation</vt:lpstr>
      <vt:lpstr>External // run KPI report</vt:lpstr>
      <vt:lpstr>External // run KPI report</vt:lpstr>
      <vt:lpstr>External // run KPI report</vt:lpstr>
      <vt:lpstr>KPI 2</vt:lpstr>
      <vt:lpstr>KPI 2A - Delta comparison with IDCC(b) run at ~4:30 </vt:lpstr>
      <vt:lpstr>KPI 3</vt:lpstr>
      <vt:lpstr>KPI 3A - Delta comparison with IDCC(b) run at ~4:30 </vt:lpstr>
      <vt:lpstr>KPI 4</vt:lpstr>
      <vt:lpstr>KPI 4A - Delta comparison with IDCC(b) run at ~4:30 </vt:lpstr>
      <vt:lpstr>KPI 4A - Delta comparison with IDCC(b) run at ~4:30 </vt:lpstr>
      <vt:lpstr>KPI 5</vt:lpstr>
      <vt:lpstr>KPI 6A &amp; 6B - Limiting constraints of the ATC domain​</vt:lpstr>
      <vt:lpstr>KPI 6A &amp; 6B - Limiting constraints of the ATC domain​</vt:lpstr>
      <vt:lpstr>KPI 6C - Limiting constraints of the ATC domain​</vt:lpstr>
      <vt:lpstr>KPI 6C - Limiting constraints of the ATC domain​</vt:lpstr>
      <vt:lpstr>KPI 6C - Limiting constraints of the ATC domain​</vt:lpstr>
      <vt:lpstr>KPI 6C - Limiting constraints of the ATC domain​</vt:lpstr>
      <vt:lpstr>KPI 6C - Limiting constraints of the ATC domain​</vt:lpstr>
      <vt:lpstr>KPI 6C - Limiting constraints of the ATC domain​</vt:lpstr>
      <vt:lpstr>KPI 6C - Limiting constraints of the ATC domain​</vt:lpstr>
      <vt:lpstr>KPI 6C - Limiting constraints of the ATC domain​</vt:lpstr>
      <vt:lpstr>KPI 6C - Limiting constraints of the ATC domain​</vt:lpstr>
      <vt:lpstr>KPI 6C - Limiting constraints of the ATC domain​</vt:lpstr>
      <vt:lpstr>KPI 6C - Limiting constraints of the ATC domain​</vt:lpstr>
      <vt:lpstr>KPI 6C - Limiting constraints of the ATC domain​</vt:lpstr>
      <vt:lpstr>KPI 6C - Limiting constraints of the ATC domain​</vt:lpstr>
      <vt:lpstr>KPI 6C - Limiting constraints of the ATC domain​</vt:lpstr>
      <vt:lpstr>KPI 6C - Limiting constraints of the ATC domain​</vt:lpstr>
      <vt:lpstr>KPI 6D</vt:lpstr>
      <vt:lpstr>KPI 7A &amp; 7B - Most often used pre-solved CNEsC​ </vt:lpstr>
      <vt:lpstr>KPI 7A &amp; 7B - Most often used pre-solved CNECs​ </vt:lpstr>
      <vt:lpstr>KPI 7C - Most often used pre-solved CNECs​ ​</vt:lpstr>
      <vt:lpstr>KPI 7C - Most often used pre-solved CNECs​ ​</vt:lpstr>
      <vt:lpstr>KPI 7C - Most often used pre-solved CNECs​ ​</vt:lpstr>
      <vt:lpstr>KPI 7C - Most often used pre-solved CNECs​ ​</vt:lpstr>
      <vt:lpstr>KPI 7C - Most often used pre-solved CNECs​ ​</vt:lpstr>
      <vt:lpstr>KPI 7C - Most often used pre-solved CNECs​ ​</vt:lpstr>
      <vt:lpstr>KPI 7C - Most often used pre-solved CNECs​ ​</vt:lpstr>
      <vt:lpstr>KPI 7C - Most often used pre-solved CNECs​ ​</vt:lpstr>
      <vt:lpstr>KPI 7C - Most often used pre-solved CNECs​ ​</vt:lpstr>
      <vt:lpstr>KPI 7C - Most often used pre-solved CNECs​ ​</vt:lpstr>
      <vt:lpstr>KPI 7C - Most often used pre-solved CNECs​ ​</vt:lpstr>
      <vt:lpstr>KPI 7C - Most often used pre-solved CNECs​ ​</vt:lpstr>
      <vt:lpstr>KPI 7C - Most often used pre-solved CNECs​ ​</vt:lpstr>
      <vt:lpstr>KPI 7C - Most often used pre-solved CNECs​ ​</vt:lpstr>
      <vt:lpstr>KPI 7C - Most often used pre-solved CNECs​ ​</vt:lpstr>
      <vt:lpstr>KPI 8A – Min and Max Net Positions per Bidding Zone​ </vt:lpstr>
      <vt:lpstr>KPI 8A – Min and Max Net Positions per Bidding Zone​ </vt:lpstr>
      <vt:lpstr>KPI 8A – Min and Max Net Positions per Bidding Zone​ </vt:lpstr>
      <vt:lpstr>KPI 8A – Min and Max Net Positions per Bidding Zone​ </vt:lpstr>
      <vt:lpstr>KPI 8A – Min and Max Net Positions per Bidding Zone​ </vt:lpstr>
      <vt:lpstr>KPI 8A – Min and Max Net Positions per Bidding Zone​ </vt:lpstr>
      <vt:lpstr>KPI 8A – Min and Max Net Positions per Bidding Zone​ </vt:lpstr>
      <vt:lpstr>KPI 8A – Min and Max Net Positions per Bidding Zone​ </vt:lpstr>
      <vt:lpstr>KPI 8A – Min and Max Net Positions per Bidding Zone​ </vt:lpstr>
      <vt:lpstr>KPI 8A – Min and Max Net Positions per Bidding Zone​ </vt:lpstr>
      <vt:lpstr>KPI 8A – Min and Max Net Positions per Bidding Zone​ </vt:lpstr>
      <vt:lpstr>KPI 8A – Min and Max Net Positions per Bidding Zone​ </vt:lpstr>
      <vt:lpstr>KPI 8B – Min and Max Net Positions per Bidding Zone​ </vt:lpstr>
      <vt:lpstr>KPI 8B – Min and Max Net Positions per Bidding Zone​ </vt:lpstr>
      <vt:lpstr>KPI 8B – Min and Max Net Positions per Bidding Zone​ </vt:lpstr>
      <vt:lpstr>KPI 8B – Min and Max Net Positions per Bidding Zone​ </vt:lpstr>
      <vt:lpstr>KPI 8B – Min and Max Net Positions per Bidding Zone​ </vt:lpstr>
      <vt:lpstr>KPI 8B – Min and Max Net Positions per Bidding Zone​ </vt:lpstr>
      <vt:lpstr>KPI 8B – Min and Max Net Positions per Bidding Zone​ </vt:lpstr>
      <vt:lpstr>KPI 8B – Min and Max Net Positions per Bidding Zone​ </vt:lpstr>
      <vt:lpstr>KPI 8B – Min and Max Net Positions per Bidding Zone​ </vt:lpstr>
      <vt:lpstr>KPI 8B – Min and Max Net Positions per Bidding Zone​ </vt:lpstr>
      <vt:lpstr>KPI 8B – Min and Max Net Positions per Bidding Zone​ </vt:lpstr>
      <vt:lpstr>KPI 8B – Min and Max Net Positions per Bidding Zon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Brend Schiere</cp:lastModifiedBy>
  <cp:revision>516</cp:revision>
  <dcterms:created xsi:type="dcterms:W3CDTF">2018-12-04T09:56:18Z</dcterms:created>
  <dcterms:modified xsi:type="dcterms:W3CDTF">2025-07-08T13:27: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9E20F6677570B4594AE3C70D059D60F</vt:lpwstr>
  </property>
  <property fmtid="{D5CDD505-2E9C-101B-9397-08002B2CF9AE}" pid="3" name="MediaServiceImageTags">
    <vt:lpwstr/>
  </property>
  <property fmtid="{D5CDD505-2E9C-101B-9397-08002B2CF9AE}" pid="4" name="MSIP_Label_2e585759-362d-4185-bb50-fc81b58bf15d_Enabled">
    <vt:lpwstr>true</vt:lpwstr>
  </property>
  <property fmtid="{D5CDD505-2E9C-101B-9397-08002B2CF9AE}" pid="5" name="MSIP_Label_2e585759-362d-4185-bb50-fc81b58bf15d_SetDate">
    <vt:lpwstr>2023-07-27T08:20:10Z</vt:lpwstr>
  </property>
  <property fmtid="{D5CDD505-2E9C-101B-9397-08002B2CF9AE}" pid="6" name="MSIP_Label_2e585759-362d-4185-bb50-fc81b58bf15d_Method">
    <vt:lpwstr>Standard</vt:lpwstr>
  </property>
  <property fmtid="{D5CDD505-2E9C-101B-9397-08002B2CF9AE}" pid="7" name="MSIP_Label_2e585759-362d-4185-bb50-fc81b58bf15d_Name">
    <vt:lpwstr>2e585759-362d-4185-bb50-fc81b58bf15d</vt:lpwstr>
  </property>
  <property fmtid="{D5CDD505-2E9C-101B-9397-08002B2CF9AE}" pid="8" name="MSIP_Label_2e585759-362d-4185-bb50-fc81b58bf15d_SiteId">
    <vt:lpwstr>6dfa2abc-8bb8-4557-855c-e532cacb5122</vt:lpwstr>
  </property>
  <property fmtid="{D5CDD505-2E9C-101B-9397-08002B2CF9AE}" pid="9" name="MSIP_Label_2e585759-362d-4185-bb50-fc81b58bf15d_ActionId">
    <vt:lpwstr>c2acad35-995c-4d7d-8153-26c54193e6a1</vt:lpwstr>
  </property>
  <property fmtid="{D5CDD505-2E9C-101B-9397-08002B2CF9AE}" pid="10" name="MSIP_Label_2e585759-362d-4185-bb50-fc81b58bf15d_ContentBits">
    <vt:lpwstr>0</vt:lpwstr>
  </property>
</Properties>
</file>